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4"/>
  </p:notesMasterIdLst>
  <p:handoutMasterIdLst>
    <p:handoutMasterId r:id="rId25"/>
  </p:handoutMasterIdLst>
  <p:sldIdLst>
    <p:sldId id="285" r:id="rId2"/>
    <p:sldId id="275" r:id="rId3"/>
    <p:sldId id="286" r:id="rId4"/>
    <p:sldId id="280" r:id="rId5"/>
    <p:sldId id="279" r:id="rId6"/>
    <p:sldId id="274" r:id="rId7"/>
    <p:sldId id="276" r:id="rId8"/>
    <p:sldId id="257" r:id="rId9"/>
    <p:sldId id="256" r:id="rId10"/>
    <p:sldId id="294" r:id="rId11"/>
    <p:sldId id="295" r:id="rId12"/>
    <p:sldId id="289" r:id="rId13"/>
    <p:sldId id="290" r:id="rId14"/>
    <p:sldId id="291" r:id="rId15"/>
    <p:sldId id="292" r:id="rId16"/>
    <p:sldId id="293" r:id="rId17"/>
    <p:sldId id="271" r:id="rId18"/>
    <p:sldId id="268" r:id="rId19"/>
    <p:sldId id="259" r:id="rId20"/>
    <p:sldId id="269" r:id="rId21"/>
    <p:sldId id="284" r:id="rId22"/>
    <p:sldId id="282" r:id="rId2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97" autoAdjust="0"/>
    <p:restoredTop sz="94434" autoAdjust="0"/>
  </p:normalViewPr>
  <p:slideViewPr>
    <p:cSldViewPr snapToGrid="0" snapToObjects="1">
      <p:cViewPr>
        <p:scale>
          <a:sx n="100" d="100"/>
          <a:sy n="100" d="100"/>
        </p:scale>
        <p:origin x="480" y="-21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embeddings/oleObject4.bin"/><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172271032764468"/>
          <c:y val="7.846979356572148E-2"/>
          <c:w val="0.82262801708610001"/>
          <c:h val="0.69245589093030002"/>
        </c:manualLayout>
      </c:layout>
      <c:barChart>
        <c:barDir val="col"/>
        <c:grouping val="clustered"/>
        <c:varyColors val="0"/>
        <c:ser>
          <c:idx val="0"/>
          <c:order val="0"/>
          <c:tx>
            <c:strRef>
              <c:f>SUMMARY!$K$28</c:f>
              <c:strCache>
                <c:ptCount val="1"/>
                <c:pt idx="0">
                  <c:v>Fruit</c:v>
                </c:pt>
              </c:strCache>
            </c:strRef>
          </c:tx>
          <c:spPr>
            <a:solidFill>
              <a:schemeClr val="tx2">
                <a:lumMod val="40000"/>
                <a:lumOff val="60000"/>
              </a:schemeClr>
            </a:solidFill>
          </c:spPr>
          <c:invertIfNegative val="0"/>
          <c:cat>
            <c:strRef>
              <c:f>SUMMARY!$J$29:$J$35</c:f>
              <c:strCache>
                <c:ptCount val="7"/>
                <c:pt idx="0">
                  <c:v>Global</c:v>
                </c:pt>
                <c:pt idx="1">
                  <c:v>USA</c:v>
                </c:pt>
                <c:pt idx="2">
                  <c:v>EU 15</c:v>
                </c:pt>
                <c:pt idx="3">
                  <c:v>UAE </c:v>
                </c:pt>
                <c:pt idx="4">
                  <c:v>India</c:v>
                </c:pt>
                <c:pt idx="5">
                  <c:v>China</c:v>
                </c:pt>
                <c:pt idx="6">
                  <c:v>EAC</c:v>
                </c:pt>
              </c:strCache>
            </c:strRef>
          </c:cat>
          <c:val>
            <c:numRef>
              <c:f>SUMMARY!$K$29:$K$35</c:f>
              <c:numCache>
                <c:formatCode>0.0%</c:formatCode>
                <c:ptCount val="7"/>
                <c:pt idx="0">
                  <c:v>8.5545218591321706E-2</c:v>
                </c:pt>
                <c:pt idx="1">
                  <c:v>9.27497636262333E-2</c:v>
                </c:pt>
                <c:pt idx="2">
                  <c:v>5.8818565000058498E-2</c:v>
                </c:pt>
                <c:pt idx="3">
                  <c:v>0.129993750698146</c:v>
                </c:pt>
                <c:pt idx="4">
                  <c:v>0.181725435661866</c:v>
                </c:pt>
                <c:pt idx="5">
                  <c:v>0.24523821827835399</c:v>
                </c:pt>
                <c:pt idx="6">
                  <c:v>0.20636524963997999</c:v>
                </c:pt>
              </c:numCache>
            </c:numRef>
          </c:val>
          <c:extLst>
            <c:ext xmlns:c16="http://schemas.microsoft.com/office/drawing/2014/chart" uri="{C3380CC4-5D6E-409C-BE32-E72D297353CC}">
              <c16:uniqueId val="{00000000-ACDB-45B4-BA87-1B8232D4BAA4}"/>
            </c:ext>
          </c:extLst>
        </c:ser>
        <c:ser>
          <c:idx val="1"/>
          <c:order val="1"/>
          <c:tx>
            <c:strRef>
              <c:f>SUMMARY!$L$28</c:f>
              <c:strCache>
                <c:ptCount val="1"/>
                <c:pt idx="0">
                  <c:v>Vegetables</c:v>
                </c:pt>
              </c:strCache>
            </c:strRef>
          </c:tx>
          <c:spPr>
            <a:solidFill>
              <a:schemeClr val="accent3">
                <a:lumMod val="75000"/>
              </a:schemeClr>
            </a:solidFill>
          </c:spPr>
          <c:invertIfNegative val="0"/>
          <c:cat>
            <c:strRef>
              <c:f>SUMMARY!$J$29:$J$35</c:f>
              <c:strCache>
                <c:ptCount val="7"/>
                <c:pt idx="0">
                  <c:v>Global</c:v>
                </c:pt>
                <c:pt idx="1">
                  <c:v>USA</c:v>
                </c:pt>
                <c:pt idx="2">
                  <c:v>EU 15</c:v>
                </c:pt>
                <c:pt idx="3">
                  <c:v>UAE </c:v>
                </c:pt>
                <c:pt idx="4">
                  <c:v>India</c:v>
                </c:pt>
                <c:pt idx="5">
                  <c:v>China</c:v>
                </c:pt>
                <c:pt idx="6">
                  <c:v>EAC</c:v>
                </c:pt>
              </c:strCache>
            </c:strRef>
          </c:cat>
          <c:val>
            <c:numRef>
              <c:f>SUMMARY!$L$29:$L$35</c:f>
              <c:numCache>
                <c:formatCode>0.0%</c:formatCode>
                <c:ptCount val="7"/>
                <c:pt idx="0">
                  <c:v>4.30186077382224E-2</c:v>
                </c:pt>
                <c:pt idx="1">
                  <c:v>6.4365181294853094E-2</c:v>
                </c:pt>
                <c:pt idx="2">
                  <c:v>2.5302153696739001E-2</c:v>
                </c:pt>
                <c:pt idx="3">
                  <c:v>7.4667657497250003E-2</c:v>
                </c:pt>
                <c:pt idx="4">
                  <c:v>9.4856915787329105E-2</c:v>
                </c:pt>
                <c:pt idx="5">
                  <c:v>0.14223811875325901</c:v>
                </c:pt>
                <c:pt idx="6">
                  <c:v>0.29525848270423</c:v>
                </c:pt>
              </c:numCache>
            </c:numRef>
          </c:val>
          <c:extLst>
            <c:ext xmlns:c16="http://schemas.microsoft.com/office/drawing/2014/chart" uri="{C3380CC4-5D6E-409C-BE32-E72D297353CC}">
              <c16:uniqueId val="{00000001-ACDB-45B4-BA87-1B8232D4BAA4}"/>
            </c:ext>
          </c:extLst>
        </c:ser>
        <c:ser>
          <c:idx val="2"/>
          <c:order val="2"/>
          <c:tx>
            <c:strRef>
              <c:f>SUMMARY!$M$28</c:f>
              <c:strCache>
                <c:ptCount val="1"/>
                <c:pt idx="0">
                  <c:v>Average F&amp;V</c:v>
                </c:pt>
              </c:strCache>
            </c:strRef>
          </c:tx>
          <c:spPr>
            <a:solidFill>
              <a:schemeClr val="tx2">
                <a:lumMod val="75000"/>
              </a:schemeClr>
            </a:solidFill>
          </c:spPr>
          <c:invertIfNegative val="0"/>
          <c:cat>
            <c:strRef>
              <c:f>SUMMARY!$J$29:$J$35</c:f>
              <c:strCache>
                <c:ptCount val="7"/>
                <c:pt idx="0">
                  <c:v>Global</c:v>
                </c:pt>
                <c:pt idx="1">
                  <c:v>USA</c:v>
                </c:pt>
                <c:pt idx="2">
                  <c:v>EU 15</c:v>
                </c:pt>
                <c:pt idx="3">
                  <c:v>UAE </c:v>
                </c:pt>
                <c:pt idx="4">
                  <c:v>India</c:v>
                </c:pt>
                <c:pt idx="5">
                  <c:v>China</c:v>
                </c:pt>
                <c:pt idx="6">
                  <c:v>EAC</c:v>
                </c:pt>
              </c:strCache>
            </c:strRef>
          </c:cat>
          <c:val>
            <c:numRef>
              <c:f>SUMMARY!$M$29:$M$35</c:f>
              <c:numCache>
                <c:formatCode>0.0%</c:formatCode>
                <c:ptCount val="7"/>
                <c:pt idx="0">
                  <c:v>6.44964320600869E-2</c:v>
                </c:pt>
                <c:pt idx="1">
                  <c:v>8.1028104421210403E-2</c:v>
                </c:pt>
                <c:pt idx="2">
                  <c:v>4.5819639207149897E-2</c:v>
                </c:pt>
                <c:pt idx="3">
                  <c:v>0.110751804259419</c:v>
                </c:pt>
                <c:pt idx="4">
                  <c:v>0.13312774498277</c:v>
                </c:pt>
                <c:pt idx="5">
                  <c:v>0.20569825139904899</c:v>
                </c:pt>
                <c:pt idx="6">
                  <c:v>0.270100837937157</c:v>
                </c:pt>
              </c:numCache>
            </c:numRef>
          </c:val>
          <c:extLst>
            <c:ext xmlns:c16="http://schemas.microsoft.com/office/drawing/2014/chart" uri="{C3380CC4-5D6E-409C-BE32-E72D297353CC}">
              <c16:uniqueId val="{00000002-ACDB-45B4-BA87-1B8232D4BAA4}"/>
            </c:ext>
          </c:extLst>
        </c:ser>
        <c:dLbls>
          <c:showLegendKey val="0"/>
          <c:showVal val="0"/>
          <c:showCatName val="0"/>
          <c:showSerName val="0"/>
          <c:showPercent val="0"/>
          <c:showBubbleSize val="0"/>
        </c:dLbls>
        <c:gapWidth val="150"/>
        <c:axId val="275928576"/>
        <c:axId val="275930112"/>
      </c:barChart>
      <c:catAx>
        <c:axId val="275928576"/>
        <c:scaling>
          <c:orientation val="minMax"/>
        </c:scaling>
        <c:delete val="0"/>
        <c:axPos val="b"/>
        <c:numFmt formatCode="General" sourceLinked="0"/>
        <c:majorTickMark val="out"/>
        <c:minorTickMark val="none"/>
        <c:tickLblPos val="nextTo"/>
        <c:crossAx val="275930112"/>
        <c:crosses val="autoZero"/>
        <c:auto val="1"/>
        <c:lblAlgn val="ctr"/>
        <c:lblOffset val="100"/>
        <c:noMultiLvlLbl val="0"/>
      </c:catAx>
      <c:valAx>
        <c:axId val="275930112"/>
        <c:scaling>
          <c:orientation val="minMax"/>
        </c:scaling>
        <c:delete val="0"/>
        <c:axPos val="l"/>
        <c:numFmt formatCode="0.0%" sourceLinked="1"/>
        <c:majorTickMark val="out"/>
        <c:minorTickMark val="none"/>
        <c:tickLblPos val="nextTo"/>
        <c:txPr>
          <a:bodyPr/>
          <a:lstStyle/>
          <a:p>
            <a:pPr>
              <a:defRPr sz="900"/>
            </a:pPr>
            <a:endParaRPr lang="en-US"/>
          </a:p>
        </c:txPr>
        <c:crossAx val="275928576"/>
        <c:crosses val="autoZero"/>
        <c:crossBetween val="between"/>
        <c:minorUnit val="0.01"/>
      </c:valAx>
    </c:plotArea>
    <c:legend>
      <c:legendPos val="b"/>
      <c:layout>
        <c:manualLayout>
          <c:xMode val="edge"/>
          <c:yMode val="edge"/>
          <c:x val="0"/>
          <c:y val="0.90600021632569239"/>
          <c:w val="0.91215671318495395"/>
          <c:h val="9.2976450860309104E-2"/>
        </c:manualLayout>
      </c:layout>
      <c:overlay val="0"/>
    </c:legend>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0BB15F-8AB9-DD4A-90A2-F326BC9532CA}" type="doc">
      <dgm:prSet loTypeId="urn:microsoft.com/office/officeart/2005/8/layout/lProcess2" loCatId="" qsTypeId="urn:microsoft.com/office/officeart/2005/8/quickstyle/simple1" qsCatId="simple" csTypeId="urn:microsoft.com/office/officeart/2005/8/colors/accent1_1" csCatId="accent1" phldr="1"/>
      <dgm:spPr/>
      <dgm:t>
        <a:bodyPr/>
        <a:lstStyle/>
        <a:p>
          <a:endParaRPr lang="en-US"/>
        </a:p>
      </dgm:t>
    </dgm:pt>
    <dgm:pt modelId="{F679B185-E8FB-0047-93BA-213C849E3D0B}">
      <dgm:prSet phldrT="[Text]"/>
      <dgm:spPr/>
      <dgm:t>
        <a:bodyPr/>
        <a:lstStyle/>
        <a:p>
          <a:r>
            <a:rPr lang="ru-RU" dirty="0" err="1"/>
            <a:t>Позитв</a:t>
          </a:r>
          <a:r>
            <a:rPr lang="ru-RU" dirty="0"/>
            <a:t>. факторы и характеристики экономического преобразования</a:t>
          </a:r>
          <a:endParaRPr lang="en-US" dirty="0"/>
        </a:p>
      </dgm:t>
    </dgm:pt>
    <dgm:pt modelId="{2EB46A5B-E432-6A40-90B5-0B97848B27C7}" type="parTrans" cxnId="{DC5E1B67-CCA9-F547-AC21-A6C02FA39EB4}">
      <dgm:prSet/>
      <dgm:spPr/>
      <dgm:t>
        <a:bodyPr/>
        <a:lstStyle/>
        <a:p>
          <a:endParaRPr lang="en-US"/>
        </a:p>
      </dgm:t>
    </dgm:pt>
    <dgm:pt modelId="{088AF449-71B5-0C4C-8D35-05459F5556D4}" type="sibTrans" cxnId="{DC5E1B67-CCA9-F547-AC21-A6C02FA39EB4}">
      <dgm:prSet/>
      <dgm:spPr/>
      <dgm:t>
        <a:bodyPr/>
        <a:lstStyle/>
        <a:p>
          <a:endParaRPr lang="en-US"/>
        </a:p>
      </dgm:t>
    </dgm:pt>
    <dgm:pt modelId="{DB64D81A-AEEC-2F4E-BD13-B840F25A40E5}">
      <dgm:prSet phldrT="[Text]" custT="1"/>
      <dgm:spPr/>
      <dgm:t>
        <a:bodyPr/>
        <a:lstStyle/>
        <a:p>
          <a:r>
            <a:rPr lang="ru-RU" sz="1400" dirty="0"/>
            <a:t>Стабильное </a:t>
          </a:r>
          <a:r>
            <a:rPr lang="ru-RU" sz="1400" dirty="0" err="1"/>
            <a:t>макроэкономичес</a:t>
          </a:r>
          <a:r>
            <a:rPr lang="ru-RU" sz="1400" dirty="0"/>
            <a:t>-кое развитие</a:t>
          </a:r>
          <a:endParaRPr lang="en-US" sz="1400" dirty="0"/>
        </a:p>
      </dgm:t>
    </dgm:pt>
    <dgm:pt modelId="{A79FDE25-FCD6-9644-BC16-55F7CE393C26}" type="parTrans" cxnId="{AD310A34-8D54-B44D-8159-22F99AC6B155}">
      <dgm:prSet/>
      <dgm:spPr/>
      <dgm:t>
        <a:bodyPr/>
        <a:lstStyle/>
        <a:p>
          <a:endParaRPr lang="en-US"/>
        </a:p>
      </dgm:t>
    </dgm:pt>
    <dgm:pt modelId="{D6CFCB05-3BBB-5142-B2B0-394EE8CDFBA8}" type="sibTrans" cxnId="{AD310A34-8D54-B44D-8159-22F99AC6B155}">
      <dgm:prSet/>
      <dgm:spPr/>
      <dgm:t>
        <a:bodyPr/>
        <a:lstStyle/>
        <a:p>
          <a:endParaRPr lang="en-US"/>
        </a:p>
      </dgm:t>
    </dgm:pt>
    <dgm:pt modelId="{0FB8711F-FB39-8F4D-986F-DE798033CBCC}">
      <dgm:prSet phldrT="[Text]"/>
      <dgm:spPr/>
      <dgm:t>
        <a:bodyPr/>
        <a:lstStyle/>
        <a:p>
          <a:r>
            <a:rPr lang="ru-RU" dirty="0"/>
            <a:t>Факторы, негативно влияющие на эконом. преобразование </a:t>
          </a:r>
          <a:endParaRPr lang="en-US" dirty="0"/>
        </a:p>
      </dgm:t>
    </dgm:pt>
    <dgm:pt modelId="{03B88307-B2A5-1E42-AEB3-EC6D1B772A17}" type="parTrans" cxnId="{AC2D5328-17E1-F745-B6C1-C031C59D02F5}">
      <dgm:prSet/>
      <dgm:spPr/>
      <dgm:t>
        <a:bodyPr/>
        <a:lstStyle/>
        <a:p>
          <a:endParaRPr lang="en-US"/>
        </a:p>
      </dgm:t>
    </dgm:pt>
    <dgm:pt modelId="{498D3C3F-82AF-E344-93AB-B6D663291B98}" type="sibTrans" cxnId="{AC2D5328-17E1-F745-B6C1-C031C59D02F5}">
      <dgm:prSet/>
      <dgm:spPr/>
      <dgm:t>
        <a:bodyPr/>
        <a:lstStyle/>
        <a:p>
          <a:endParaRPr lang="en-US"/>
        </a:p>
      </dgm:t>
    </dgm:pt>
    <dgm:pt modelId="{5D20B315-1CB8-0D43-8781-0AC338A62367}">
      <dgm:prSet phldrT="[Text]" custT="1"/>
      <dgm:spPr/>
      <dgm:t>
        <a:bodyPr/>
        <a:lstStyle/>
        <a:p>
          <a:r>
            <a:rPr lang="ru-RU" sz="1400" dirty="0"/>
            <a:t>Неудовлетворённый спрос на энергию</a:t>
          </a:r>
          <a:endParaRPr lang="en-US" sz="1400" dirty="0"/>
        </a:p>
      </dgm:t>
    </dgm:pt>
    <dgm:pt modelId="{0C723F2B-E143-A94E-9447-9DDEDDDCCBBC}" type="parTrans" cxnId="{2B083CBE-9891-634C-97C8-259C1C43D070}">
      <dgm:prSet/>
      <dgm:spPr/>
      <dgm:t>
        <a:bodyPr/>
        <a:lstStyle/>
        <a:p>
          <a:endParaRPr lang="en-US"/>
        </a:p>
      </dgm:t>
    </dgm:pt>
    <dgm:pt modelId="{C20295AA-7FDD-5847-9433-E04D0541719F}" type="sibTrans" cxnId="{2B083CBE-9891-634C-97C8-259C1C43D070}">
      <dgm:prSet/>
      <dgm:spPr/>
      <dgm:t>
        <a:bodyPr/>
        <a:lstStyle/>
        <a:p>
          <a:endParaRPr lang="en-US"/>
        </a:p>
      </dgm:t>
    </dgm:pt>
    <dgm:pt modelId="{A6C1AD35-5A99-974D-A601-CD03B21B6133}">
      <dgm:prSet phldrT="[Text]"/>
      <dgm:spPr/>
      <dgm:t>
        <a:bodyPr/>
        <a:lstStyle/>
        <a:p>
          <a:r>
            <a:rPr lang="ru-RU" dirty="0"/>
            <a:t>Стратегические приоритеты</a:t>
          </a:r>
          <a:endParaRPr lang="en-US" dirty="0"/>
        </a:p>
      </dgm:t>
    </dgm:pt>
    <dgm:pt modelId="{DA851D09-782F-634F-846B-AE742AA645EB}" type="parTrans" cxnId="{9CB6183B-68CA-6D47-BABE-A4B281FBCAEA}">
      <dgm:prSet/>
      <dgm:spPr/>
      <dgm:t>
        <a:bodyPr/>
        <a:lstStyle/>
        <a:p>
          <a:endParaRPr lang="en-US"/>
        </a:p>
      </dgm:t>
    </dgm:pt>
    <dgm:pt modelId="{7950F162-B23E-8447-A328-DC69989F3CBF}" type="sibTrans" cxnId="{9CB6183B-68CA-6D47-BABE-A4B281FBCAEA}">
      <dgm:prSet/>
      <dgm:spPr/>
      <dgm:t>
        <a:bodyPr/>
        <a:lstStyle/>
        <a:p>
          <a:endParaRPr lang="en-US"/>
        </a:p>
      </dgm:t>
    </dgm:pt>
    <dgm:pt modelId="{E4DC7A46-191D-E247-8F20-FEBFC803DB73}">
      <dgm:prSet custT="1"/>
      <dgm:spPr/>
      <dgm:t>
        <a:bodyPr/>
        <a:lstStyle/>
        <a:p>
          <a:r>
            <a:rPr lang="ru-RU" sz="1400" dirty="0"/>
            <a:t>Ограниченный и </a:t>
          </a:r>
          <a:r>
            <a:rPr lang="ru-RU" sz="1400" dirty="0" err="1"/>
            <a:t>переконцентрирован-ный</a:t>
          </a:r>
          <a:r>
            <a:rPr lang="ru-RU" sz="1400" dirty="0"/>
            <a:t> экспорт</a:t>
          </a:r>
          <a:endParaRPr lang="en-US" sz="1400" dirty="0"/>
        </a:p>
      </dgm:t>
    </dgm:pt>
    <dgm:pt modelId="{80D3C31E-A776-E243-93D1-C4969060744F}" type="parTrans" cxnId="{AB4423DE-3F98-A044-AB79-EEEC251D82B9}">
      <dgm:prSet/>
      <dgm:spPr/>
      <dgm:t>
        <a:bodyPr/>
        <a:lstStyle/>
        <a:p>
          <a:endParaRPr lang="en-US"/>
        </a:p>
      </dgm:t>
    </dgm:pt>
    <dgm:pt modelId="{2D1C12D8-D0A4-2940-954D-01EA3756005B}" type="sibTrans" cxnId="{AB4423DE-3F98-A044-AB79-EEEC251D82B9}">
      <dgm:prSet/>
      <dgm:spPr/>
      <dgm:t>
        <a:bodyPr/>
        <a:lstStyle/>
        <a:p>
          <a:endParaRPr lang="en-US"/>
        </a:p>
      </dgm:t>
    </dgm:pt>
    <dgm:pt modelId="{C5DAA56A-F05A-6445-B763-C1602C7DC914}">
      <dgm:prSet custT="1"/>
      <dgm:spPr/>
      <dgm:t>
        <a:bodyPr/>
        <a:lstStyle/>
        <a:p>
          <a:r>
            <a:rPr lang="ru-RU" sz="1400" dirty="0"/>
            <a:t>Низкий уровень </a:t>
          </a:r>
          <a:r>
            <a:rPr lang="ru-RU" sz="1400" dirty="0" err="1"/>
            <a:t>иностран</a:t>
          </a:r>
          <a:r>
            <a:rPr lang="ru-RU" sz="1400" dirty="0"/>
            <a:t>. инвестиций</a:t>
          </a:r>
          <a:r>
            <a:rPr lang="en-US" sz="1400" dirty="0"/>
            <a:t> </a:t>
          </a:r>
        </a:p>
      </dgm:t>
    </dgm:pt>
    <dgm:pt modelId="{4DE55E71-9517-FD42-BEEC-7B08270528CD}" type="parTrans" cxnId="{F0130665-7FF3-2D42-A99C-A87A53D4156C}">
      <dgm:prSet/>
      <dgm:spPr/>
      <dgm:t>
        <a:bodyPr/>
        <a:lstStyle/>
        <a:p>
          <a:endParaRPr lang="en-US"/>
        </a:p>
      </dgm:t>
    </dgm:pt>
    <dgm:pt modelId="{E8919C40-456D-8048-A66D-3039E93E01FE}" type="sibTrans" cxnId="{F0130665-7FF3-2D42-A99C-A87A53D4156C}">
      <dgm:prSet/>
      <dgm:spPr/>
      <dgm:t>
        <a:bodyPr/>
        <a:lstStyle/>
        <a:p>
          <a:endParaRPr lang="en-US"/>
        </a:p>
      </dgm:t>
    </dgm:pt>
    <dgm:pt modelId="{9FDA0ECB-F937-584E-BFC8-CCFB4E591EA3}">
      <dgm:prSet custT="1"/>
      <dgm:spPr/>
      <dgm:t>
        <a:bodyPr/>
        <a:lstStyle/>
        <a:p>
          <a:r>
            <a:rPr lang="ru-RU" sz="1400" dirty="0"/>
            <a:t>Слабая логистическая система</a:t>
          </a:r>
          <a:endParaRPr lang="en-US" sz="1400" dirty="0"/>
        </a:p>
      </dgm:t>
    </dgm:pt>
    <dgm:pt modelId="{CA4E685B-DABF-7843-90B7-69EE7C3364A4}" type="parTrans" cxnId="{D4982377-4D79-4E43-8A60-97DDBE31BF7E}">
      <dgm:prSet/>
      <dgm:spPr/>
      <dgm:t>
        <a:bodyPr/>
        <a:lstStyle/>
        <a:p>
          <a:endParaRPr lang="en-US"/>
        </a:p>
      </dgm:t>
    </dgm:pt>
    <dgm:pt modelId="{54F2929D-6678-DD40-9F2A-A2CC126D7DAC}" type="sibTrans" cxnId="{D4982377-4D79-4E43-8A60-97DDBE31BF7E}">
      <dgm:prSet/>
      <dgm:spPr/>
      <dgm:t>
        <a:bodyPr/>
        <a:lstStyle/>
        <a:p>
          <a:endParaRPr lang="en-US"/>
        </a:p>
      </dgm:t>
    </dgm:pt>
    <dgm:pt modelId="{8A0571CE-F47F-5844-AAB3-70110EA3B684}">
      <dgm:prSet custT="1"/>
      <dgm:spPr/>
      <dgm:t>
        <a:bodyPr/>
        <a:lstStyle/>
        <a:p>
          <a:r>
            <a:rPr lang="ru-RU" sz="1400" dirty="0"/>
            <a:t>Ограниченная доступность долгосрочных сбережений и кредитования </a:t>
          </a:r>
          <a:endParaRPr lang="en-US" sz="1400" dirty="0"/>
        </a:p>
      </dgm:t>
    </dgm:pt>
    <dgm:pt modelId="{CE73BC11-6FC0-3E43-A48C-C4FF03458BEB}" type="parTrans" cxnId="{45159745-2580-7745-83E1-FF3D953F5973}">
      <dgm:prSet/>
      <dgm:spPr/>
      <dgm:t>
        <a:bodyPr/>
        <a:lstStyle/>
        <a:p>
          <a:endParaRPr lang="en-US"/>
        </a:p>
      </dgm:t>
    </dgm:pt>
    <dgm:pt modelId="{B38D8BB6-AA16-494C-8BBB-9AA017FF3556}" type="sibTrans" cxnId="{45159745-2580-7745-83E1-FF3D953F5973}">
      <dgm:prSet/>
      <dgm:spPr/>
      <dgm:t>
        <a:bodyPr/>
        <a:lstStyle/>
        <a:p>
          <a:endParaRPr lang="en-US"/>
        </a:p>
      </dgm:t>
    </dgm:pt>
    <dgm:pt modelId="{8138E8DF-91A5-874E-9574-5705F24DF271}">
      <dgm:prSet/>
      <dgm:spPr/>
      <dgm:t>
        <a:bodyPr/>
        <a:lstStyle/>
        <a:p>
          <a:pPr>
            <a:spcAft>
              <a:spcPts val="0"/>
            </a:spcAft>
          </a:pPr>
          <a:r>
            <a:rPr lang="ru-RU" dirty="0" err="1"/>
            <a:t>Урбанизационный</a:t>
          </a:r>
          <a:r>
            <a:rPr lang="ru-RU" dirty="0"/>
            <a:t> </a:t>
          </a:r>
        </a:p>
        <a:p>
          <a:pPr>
            <a:spcAft>
              <a:spcPts val="0"/>
            </a:spcAft>
          </a:pPr>
          <a:r>
            <a:rPr lang="ru-RU" dirty="0"/>
            <a:t>прессинг</a:t>
          </a:r>
          <a:endParaRPr lang="en-US" dirty="0"/>
        </a:p>
      </dgm:t>
    </dgm:pt>
    <dgm:pt modelId="{EEEE050B-84D2-DC41-9F0E-2D28836736E6}" type="parTrans" cxnId="{81ABD9B3-D8A7-D44D-8B4D-329B152B66A4}">
      <dgm:prSet/>
      <dgm:spPr/>
      <dgm:t>
        <a:bodyPr/>
        <a:lstStyle/>
        <a:p>
          <a:endParaRPr lang="en-US"/>
        </a:p>
      </dgm:t>
    </dgm:pt>
    <dgm:pt modelId="{87064535-A16C-E941-A0FD-83133B1B2475}" type="sibTrans" cxnId="{81ABD9B3-D8A7-D44D-8B4D-329B152B66A4}">
      <dgm:prSet/>
      <dgm:spPr/>
      <dgm:t>
        <a:bodyPr/>
        <a:lstStyle/>
        <a:p>
          <a:endParaRPr lang="en-US"/>
        </a:p>
      </dgm:t>
    </dgm:pt>
    <dgm:pt modelId="{ECE12DE4-69A1-CB4C-8C88-EC09C9F8988F}">
      <dgm:prSet custT="1"/>
      <dgm:spPr/>
      <dgm:t>
        <a:bodyPr/>
        <a:lstStyle/>
        <a:p>
          <a:r>
            <a:rPr lang="en-US" sz="1400" b="1" dirty="0"/>
            <a:t>A. </a:t>
          </a:r>
          <a:r>
            <a:rPr lang="ru-RU" sz="1400" b="1" dirty="0"/>
            <a:t>Отрасли</a:t>
          </a:r>
          <a:r>
            <a:rPr lang="en-US" sz="1400" b="1" dirty="0"/>
            <a:t> </a:t>
          </a:r>
          <a:endParaRPr lang="en-US" sz="1400" dirty="0"/>
        </a:p>
      </dgm:t>
    </dgm:pt>
    <dgm:pt modelId="{6EB03281-E644-4A4F-885C-1D103443C283}" type="parTrans" cxnId="{E37382D1-5ED0-454E-B30A-C51DABBBB7D4}">
      <dgm:prSet/>
      <dgm:spPr/>
      <dgm:t>
        <a:bodyPr/>
        <a:lstStyle/>
        <a:p>
          <a:endParaRPr lang="en-US"/>
        </a:p>
      </dgm:t>
    </dgm:pt>
    <dgm:pt modelId="{477976B9-96B5-3744-8D3E-F067EAC4CD1E}" type="sibTrans" cxnId="{E37382D1-5ED0-454E-B30A-C51DABBBB7D4}">
      <dgm:prSet/>
      <dgm:spPr/>
      <dgm:t>
        <a:bodyPr/>
        <a:lstStyle/>
        <a:p>
          <a:endParaRPr lang="en-US"/>
        </a:p>
      </dgm:t>
    </dgm:pt>
    <dgm:pt modelId="{05C81B1B-8D2E-6841-9305-641E4DA7AAC0}">
      <dgm:prSet custT="1"/>
      <dgm:spPr/>
      <dgm:t>
        <a:bodyPr/>
        <a:lstStyle/>
        <a:p>
          <a:r>
            <a:rPr lang="ru-RU" sz="1400" dirty="0"/>
            <a:t>Индустриализация и сфера услуг</a:t>
          </a:r>
          <a:endParaRPr lang="en-US" sz="1400" dirty="0"/>
        </a:p>
      </dgm:t>
    </dgm:pt>
    <dgm:pt modelId="{860BEAB9-7110-7B42-A47B-F63315AAC156}" type="parTrans" cxnId="{4F218FF1-CD4A-4343-B7B9-4A5864CBF2E5}">
      <dgm:prSet/>
      <dgm:spPr/>
      <dgm:t>
        <a:bodyPr/>
        <a:lstStyle/>
        <a:p>
          <a:endParaRPr lang="en-US"/>
        </a:p>
      </dgm:t>
    </dgm:pt>
    <dgm:pt modelId="{120B79E7-2E39-2943-ABCF-73FA7E5324E2}" type="sibTrans" cxnId="{4F218FF1-CD4A-4343-B7B9-4A5864CBF2E5}">
      <dgm:prSet/>
      <dgm:spPr/>
      <dgm:t>
        <a:bodyPr/>
        <a:lstStyle/>
        <a:p>
          <a:endParaRPr lang="en-US"/>
        </a:p>
      </dgm:t>
    </dgm:pt>
    <dgm:pt modelId="{449048BF-99EA-F54A-9F31-1CF920375F0F}">
      <dgm:prSet custT="1"/>
      <dgm:spPr/>
      <dgm:t>
        <a:bodyPr/>
        <a:lstStyle/>
        <a:p>
          <a:r>
            <a:rPr lang="en-US" sz="1400" b="1" dirty="0"/>
            <a:t>B. </a:t>
          </a:r>
          <a:r>
            <a:rPr lang="ru-RU" sz="1400" b="1" dirty="0"/>
            <a:t>Регионы</a:t>
          </a:r>
          <a:r>
            <a:rPr lang="en-US" sz="1400" b="1" dirty="0"/>
            <a:t> </a:t>
          </a:r>
          <a:endParaRPr lang="en-US" sz="1400" dirty="0"/>
        </a:p>
      </dgm:t>
    </dgm:pt>
    <dgm:pt modelId="{8EDAB879-BF81-7047-981C-9D174036AFB8}" type="parTrans" cxnId="{D5FE824B-5DE9-4A42-A7B4-433CBF0C8B24}">
      <dgm:prSet/>
      <dgm:spPr/>
      <dgm:t>
        <a:bodyPr/>
        <a:lstStyle/>
        <a:p>
          <a:endParaRPr lang="en-US"/>
        </a:p>
      </dgm:t>
    </dgm:pt>
    <dgm:pt modelId="{CDE9BE4D-86AA-6C42-9192-F9C76D763759}" type="sibTrans" cxnId="{D5FE824B-5DE9-4A42-A7B4-433CBF0C8B24}">
      <dgm:prSet/>
      <dgm:spPr/>
      <dgm:t>
        <a:bodyPr/>
        <a:lstStyle/>
        <a:p>
          <a:endParaRPr lang="en-US"/>
        </a:p>
      </dgm:t>
    </dgm:pt>
    <dgm:pt modelId="{B7399CF7-304A-664B-87D0-6D35C4DDA297}">
      <dgm:prSet custT="1"/>
      <dgm:spPr/>
      <dgm:t>
        <a:bodyPr/>
        <a:lstStyle/>
        <a:p>
          <a:r>
            <a:rPr lang="ru-RU" sz="1400" dirty="0"/>
            <a:t>Внутренний</a:t>
          </a:r>
          <a:r>
            <a:rPr lang="en-US" sz="1400" dirty="0"/>
            <a:t> – </a:t>
          </a:r>
          <a:r>
            <a:rPr lang="ru-RU" sz="1400" dirty="0"/>
            <a:t>развитие ср. и малых городов</a:t>
          </a:r>
          <a:endParaRPr lang="en-US" sz="1400" dirty="0"/>
        </a:p>
      </dgm:t>
    </dgm:pt>
    <dgm:pt modelId="{6051D227-98BC-1445-AE92-A36ABA18B017}" type="parTrans" cxnId="{4B7AA703-85BC-0545-802C-5008B1809D79}">
      <dgm:prSet/>
      <dgm:spPr/>
      <dgm:t>
        <a:bodyPr/>
        <a:lstStyle/>
        <a:p>
          <a:endParaRPr lang="en-US"/>
        </a:p>
      </dgm:t>
    </dgm:pt>
    <dgm:pt modelId="{B7E01FA2-2640-A34D-800D-4E2F9FB17B67}" type="sibTrans" cxnId="{4B7AA703-85BC-0545-802C-5008B1809D79}">
      <dgm:prSet/>
      <dgm:spPr/>
      <dgm:t>
        <a:bodyPr/>
        <a:lstStyle/>
        <a:p>
          <a:endParaRPr lang="en-US"/>
        </a:p>
      </dgm:t>
    </dgm:pt>
    <dgm:pt modelId="{8B22D3A3-BFA8-8548-9287-D5E26BFFCA6F}">
      <dgm:prSet custT="1"/>
      <dgm:spPr/>
      <dgm:t>
        <a:bodyPr/>
        <a:lstStyle/>
        <a:p>
          <a:r>
            <a:rPr lang="ru-RU" sz="1400" dirty="0"/>
            <a:t>Внешний (Африка)</a:t>
          </a:r>
          <a:r>
            <a:rPr lang="en-US" sz="1400" dirty="0"/>
            <a:t> – </a:t>
          </a:r>
          <a:r>
            <a:rPr lang="ru-RU" sz="1400" dirty="0"/>
            <a:t>страны ВАС,</a:t>
          </a:r>
          <a:r>
            <a:rPr lang="en-US" sz="1400" dirty="0"/>
            <a:t> </a:t>
          </a:r>
          <a:r>
            <a:rPr lang="ru-RU" sz="1400" dirty="0"/>
            <a:t>ДР Конго</a:t>
          </a:r>
          <a:r>
            <a:rPr lang="en-US" sz="1400" dirty="0"/>
            <a:t> </a:t>
          </a:r>
        </a:p>
      </dgm:t>
    </dgm:pt>
    <dgm:pt modelId="{1B6EC6C2-1EB6-C84F-9CCA-0740706FDD7A}" type="parTrans" cxnId="{86903642-A5CB-AF4A-A936-9E3EEAECA5FC}">
      <dgm:prSet/>
      <dgm:spPr/>
      <dgm:t>
        <a:bodyPr/>
        <a:lstStyle/>
        <a:p>
          <a:endParaRPr lang="en-US"/>
        </a:p>
      </dgm:t>
    </dgm:pt>
    <dgm:pt modelId="{04B99296-13F4-0341-9201-022E0EE2918C}" type="sibTrans" cxnId="{86903642-A5CB-AF4A-A936-9E3EEAECA5FC}">
      <dgm:prSet/>
      <dgm:spPr/>
      <dgm:t>
        <a:bodyPr/>
        <a:lstStyle/>
        <a:p>
          <a:endParaRPr lang="en-US"/>
        </a:p>
      </dgm:t>
    </dgm:pt>
    <dgm:pt modelId="{A1FCF4DE-DED1-D241-BADF-C5C03EA68DD8}">
      <dgm:prSet custT="1"/>
      <dgm:spPr/>
      <dgm:t>
        <a:bodyPr/>
        <a:lstStyle/>
        <a:p>
          <a:r>
            <a:rPr lang="ru-RU" sz="1400" dirty="0" err="1"/>
            <a:t>Международн</a:t>
          </a:r>
          <a:r>
            <a:rPr lang="ru-RU" sz="1400" dirty="0"/>
            <a:t>.</a:t>
          </a:r>
          <a:r>
            <a:rPr lang="en-US" sz="1400" dirty="0"/>
            <a:t> – </a:t>
          </a:r>
          <a:r>
            <a:rPr lang="ru-RU" sz="1400" dirty="0" err="1"/>
            <a:t>Восточ</a:t>
          </a:r>
          <a:r>
            <a:rPr lang="ru-RU" sz="1400" dirty="0"/>
            <a:t>.</a:t>
          </a:r>
          <a:r>
            <a:rPr lang="en-US" sz="1400" dirty="0"/>
            <a:t> &amp; </a:t>
          </a:r>
          <a:r>
            <a:rPr lang="ru-RU" sz="1400" dirty="0" err="1"/>
            <a:t>Южн</a:t>
          </a:r>
          <a:r>
            <a:rPr lang="ru-RU" sz="1400" dirty="0"/>
            <a:t>. Азия, Европа</a:t>
          </a:r>
          <a:endParaRPr lang="en-US" sz="1400" dirty="0"/>
        </a:p>
      </dgm:t>
    </dgm:pt>
    <dgm:pt modelId="{9D06F121-C6C8-6E44-A5A2-933E48EBCA01}" type="parTrans" cxnId="{6F9CD230-61EF-A248-9B87-C6F70F68CD39}">
      <dgm:prSet/>
      <dgm:spPr/>
      <dgm:t>
        <a:bodyPr/>
        <a:lstStyle/>
        <a:p>
          <a:endParaRPr lang="en-US"/>
        </a:p>
      </dgm:t>
    </dgm:pt>
    <dgm:pt modelId="{19FCA66D-7361-5C42-AD68-5F32DF57F74E}" type="sibTrans" cxnId="{6F9CD230-61EF-A248-9B87-C6F70F68CD39}">
      <dgm:prSet/>
      <dgm:spPr/>
      <dgm:t>
        <a:bodyPr/>
        <a:lstStyle/>
        <a:p>
          <a:endParaRPr lang="en-US"/>
        </a:p>
      </dgm:t>
    </dgm:pt>
    <dgm:pt modelId="{E9131891-B26F-DD4F-8F7A-D407844AE6E8}">
      <dgm:prSet custT="1"/>
      <dgm:spPr/>
      <dgm:t>
        <a:bodyPr/>
        <a:lstStyle/>
        <a:p>
          <a:r>
            <a:rPr lang="ru-RU" sz="1400" dirty="0"/>
            <a:t>Увеличение инвестиций и сбережений</a:t>
          </a:r>
          <a:endParaRPr lang="en-US" sz="1400" dirty="0"/>
        </a:p>
      </dgm:t>
    </dgm:pt>
    <dgm:pt modelId="{09586F27-F131-E34F-B9E1-829292BACB6A}" type="parTrans" cxnId="{79DAA412-7F3C-F743-AB7D-7CC1C5494DB1}">
      <dgm:prSet/>
      <dgm:spPr/>
      <dgm:t>
        <a:bodyPr/>
        <a:lstStyle/>
        <a:p>
          <a:endParaRPr lang="en-US"/>
        </a:p>
      </dgm:t>
    </dgm:pt>
    <dgm:pt modelId="{CB368EB1-5D88-544D-9B41-387276D13FB5}" type="sibTrans" cxnId="{79DAA412-7F3C-F743-AB7D-7CC1C5494DB1}">
      <dgm:prSet/>
      <dgm:spPr/>
      <dgm:t>
        <a:bodyPr/>
        <a:lstStyle/>
        <a:p>
          <a:endParaRPr lang="en-US"/>
        </a:p>
      </dgm:t>
    </dgm:pt>
    <dgm:pt modelId="{EF2831CE-D0EB-174E-8A8E-381C083FBD39}">
      <dgm:prSet custT="1"/>
      <dgm:spPr/>
      <dgm:t>
        <a:bodyPr/>
        <a:lstStyle/>
        <a:p>
          <a:r>
            <a:rPr lang="ru-RU" sz="1400" dirty="0"/>
            <a:t>Рост МН интеграции</a:t>
          </a:r>
          <a:endParaRPr lang="en-US" sz="1400" dirty="0"/>
        </a:p>
      </dgm:t>
    </dgm:pt>
    <dgm:pt modelId="{92525B03-9E8F-8143-8F6C-5EDB3B7038C7}" type="parTrans" cxnId="{BD9E8C4C-5E9C-534C-93B4-C3DE5A155C2C}">
      <dgm:prSet/>
      <dgm:spPr/>
      <dgm:t>
        <a:bodyPr/>
        <a:lstStyle/>
        <a:p>
          <a:endParaRPr lang="en-US"/>
        </a:p>
      </dgm:t>
    </dgm:pt>
    <dgm:pt modelId="{F1083763-D89E-5A4E-B4A7-FA5C2FE88253}" type="sibTrans" cxnId="{BD9E8C4C-5E9C-534C-93B4-C3DE5A155C2C}">
      <dgm:prSet/>
      <dgm:spPr/>
      <dgm:t>
        <a:bodyPr/>
        <a:lstStyle/>
        <a:p>
          <a:endParaRPr lang="en-US"/>
        </a:p>
      </dgm:t>
    </dgm:pt>
    <dgm:pt modelId="{385085A3-5078-C84C-AF75-8C55E686CFC8}">
      <dgm:prSet custT="1"/>
      <dgm:spPr/>
      <dgm:t>
        <a:bodyPr/>
        <a:lstStyle/>
        <a:p>
          <a:r>
            <a:rPr lang="ru-RU" sz="1400" dirty="0"/>
            <a:t>Ориентация на нужды рынка при распределении ресурсов </a:t>
          </a:r>
          <a:endParaRPr lang="en-US" sz="1400" dirty="0"/>
        </a:p>
      </dgm:t>
    </dgm:pt>
    <dgm:pt modelId="{E63DF179-038F-0645-BD1B-14295690C7DE}" type="parTrans" cxnId="{9E602946-8B9C-A64D-BFB3-310C0FD5100F}">
      <dgm:prSet/>
      <dgm:spPr/>
      <dgm:t>
        <a:bodyPr/>
        <a:lstStyle/>
        <a:p>
          <a:endParaRPr lang="en-US"/>
        </a:p>
      </dgm:t>
    </dgm:pt>
    <dgm:pt modelId="{BF8FCA9A-058B-D74E-9B03-C828595098BC}" type="sibTrans" cxnId="{9E602946-8B9C-A64D-BFB3-310C0FD5100F}">
      <dgm:prSet/>
      <dgm:spPr/>
      <dgm:t>
        <a:bodyPr/>
        <a:lstStyle/>
        <a:p>
          <a:endParaRPr lang="en-US"/>
        </a:p>
      </dgm:t>
    </dgm:pt>
    <dgm:pt modelId="{C44D1745-6737-DC41-8635-C4CE4A66581D}">
      <dgm:prSet custT="1"/>
      <dgm:spPr/>
      <dgm:t>
        <a:bodyPr/>
        <a:lstStyle/>
        <a:p>
          <a:r>
            <a:rPr lang="ru-RU" sz="1400" dirty="0"/>
            <a:t>Рост урбанизации</a:t>
          </a:r>
          <a:endParaRPr lang="en-US" sz="1400" dirty="0"/>
        </a:p>
      </dgm:t>
    </dgm:pt>
    <dgm:pt modelId="{B5F8491F-F7EB-B743-8B98-2F0C913673B9}" type="parTrans" cxnId="{2AFA8CFA-23CA-874E-9969-E7353B3066F9}">
      <dgm:prSet/>
      <dgm:spPr/>
      <dgm:t>
        <a:bodyPr/>
        <a:lstStyle/>
        <a:p>
          <a:endParaRPr lang="en-US"/>
        </a:p>
      </dgm:t>
    </dgm:pt>
    <dgm:pt modelId="{626E41D8-CA12-1947-B2CB-DF0D47D08B33}" type="sibTrans" cxnId="{2AFA8CFA-23CA-874E-9969-E7353B3066F9}">
      <dgm:prSet/>
      <dgm:spPr/>
      <dgm:t>
        <a:bodyPr/>
        <a:lstStyle/>
        <a:p>
          <a:endParaRPr lang="en-US"/>
        </a:p>
      </dgm:t>
    </dgm:pt>
    <dgm:pt modelId="{6DC92CE4-F0FD-FF4C-89EE-F57D8838CC51}">
      <dgm:prSet custT="1"/>
      <dgm:spPr/>
      <dgm:t>
        <a:bodyPr/>
        <a:lstStyle/>
        <a:p>
          <a:r>
            <a:rPr lang="ru-RU" sz="1400" dirty="0"/>
            <a:t>Забота об экологии</a:t>
          </a:r>
          <a:endParaRPr lang="en-US" sz="1400" dirty="0"/>
        </a:p>
      </dgm:t>
    </dgm:pt>
    <dgm:pt modelId="{3FF141E7-F5F2-3F46-8C8A-4440A9FD8518}" type="parTrans" cxnId="{9F45A2A3-F68C-714C-8CCB-32EBCCC16177}">
      <dgm:prSet/>
      <dgm:spPr/>
      <dgm:t>
        <a:bodyPr/>
        <a:lstStyle/>
        <a:p>
          <a:endParaRPr lang="en-US"/>
        </a:p>
      </dgm:t>
    </dgm:pt>
    <dgm:pt modelId="{D33D71BB-B185-CE47-BA52-E19B510B1065}" type="sibTrans" cxnId="{9F45A2A3-F68C-714C-8CCB-32EBCCC16177}">
      <dgm:prSet/>
      <dgm:spPr/>
      <dgm:t>
        <a:bodyPr/>
        <a:lstStyle/>
        <a:p>
          <a:endParaRPr lang="en-US"/>
        </a:p>
      </dgm:t>
    </dgm:pt>
    <dgm:pt modelId="{4462AE26-AA30-DE46-9B2F-6DA810B37FFC}">
      <dgm:prSet custT="1"/>
      <dgm:spPr/>
      <dgm:t>
        <a:bodyPr/>
        <a:lstStyle/>
        <a:p>
          <a:r>
            <a:rPr kumimoji="0" lang="ru-RU" sz="1400" u="none" strike="noStrike" cap="none" normalizeH="0" baseline="0" dirty="0" err="1">
              <a:ln>
                <a:noFill/>
              </a:ln>
              <a:effectLst/>
            </a:rPr>
            <a:t>Высокопроизводитель-ное</a:t>
          </a:r>
          <a:r>
            <a:rPr kumimoji="0" lang="ru-RU" sz="1400" u="none" strike="noStrike" cap="none" normalizeH="0" baseline="0" dirty="0">
              <a:ln>
                <a:noFill/>
              </a:ln>
              <a:effectLst/>
            </a:rPr>
            <a:t>, ориентированное на рынок СХ</a:t>
          </a:r>
          <a:endParaRPr lang="en-US" sz="1400" dirty="0"/>
        </a:p>
      </dgm:t>
    </dgm:pt>
    <dgm:pt modelId="{9FDBB736-5CC1-5C4F-9447-C26D82650513}" type="parTrans" cxnId="{36A35F35-68AD-8D44-87E5-306D7D326FBE}">
      <dgm:prSet/>
      <dgm:spPr/>
      <dgm:t>
        <a:bodyPr/>
        <a:lstStyle/>
        <a:p>
          <a:endParaRPr lang="en-US"/>
        </a:p>
      </dgm:t>
    </dgm:pt>
    <dgm:pt modelId="{18C86814-9533-E941-B5A7-F3F06054B643}" type="sibTrans" cxnId="{36A35F35-68AD-8D44-87E5-306D7D326FBE}">
      <dgm:prSet/>
      <dgm:spPr/>
      <dgm:t>
        <a:bodyPr/>
        <a:lstStyle/>
        <a:p>
          <a:endParaRPr lang="en-US"/>
        </a:p>
      </dgm:t>
    </dgm:pt>
    <dgm:pt modelId="{8E85227D-25B0-0340-A648-9DF7B8B139D9}">
      <dgm:prSet custT="1"/>
      <dgm:spPr/>
      <dgm:t>
        <a:bodyPr/>
        <a:lstStyle/>
        <a:p>
          <a:endParaRPr lang="en-US" sz="1400" dirty="0"/>
        </a:p>
      </dgm:t>
    </dgm:pt>
    <dgm:pt modelId="{FC9F6449-368F-EC40-91C5-F7F01E1C5B44}" type="parTrans" cxnId="{6D008D2C-90B8-2C46-83F8-C2E086076C51}">
      <dgm:prSet/>
      <dgm:spPr/>
      <dgm:t>
        <a:bodyPr/>
        <a:lstStyle/>
        <a:p>
          <a:endParaRPr lang="en-US"/>
        </a:p>
      </dgm:t>
    </dgm:pt>
    <dgm:pt modelId="{8DB1AA80-58CC-7845-BC29-3F829825AD91}" type="sibTrans" cxnId="{6D008D2C-90B8-2C46-83F8-C2E086076C51}">
      <dgm:prSet/>
      <dgm:spPr/>
      <dgm:t>
        <a:bodyPr/>
        <a:lstStyle/>
        <a:p>
          <a:endParaRPr lang="en-US"/>
        </a:p>
      </dgm:t>
    </dgm:pt>
    <dgm:pt modelId="{3510263D-34D1-4888-A5CC-E9148C8F820C}">
      <dgm:prSet custT="1"/>
      <dgm:spPr/>
      <dgm:t>
        <a:bodyPr/>
        <a:lstStyle/>
        <a:p>
          <a:r>
            <a:rPr lang="ru-RU" sz="1400" dirty="0"/>
            <a:t>Экспортно-ориентир. отрасли</a:t>
          </a:r>
          <a:endParaRPr lang="en-US" sz="1400" dirty="0"/>
        </a:p>
      </dgm:t>
    </dgm:pt>
    <dgm:pt modelId="{0BD7D659-F503-461A-828B-964F7D8425C7}" type="parTrans" cxnId="{D9B93433-57E1-48C8-B5AA-3844F82C19DA}">
      <dgm:prSet/>
      <dgm:spPr/>
    </dgm:pt>
    <dgm:pt modelId="{90CCB180-64C9-4109-9662-2C79AEF8FBDF}" type="sibTrans" cxnId="{D9B93433-57E1-48C8-B5AA-3844F82C19DA}">
      <dgm:prSet/>
      <dgm:spPr/>
    </dgm:pt>
    <dgm:pt modelId="{8CA0E43D-AF8E-8347-BD4F-536BA29DC7C8}" type="pres">
      <dgm:prSet presAssocID="{720BB15F-8AB9-DD4A-90A2-F326BC9532CA}" presName="theList" presStyleCnt="0">
        <dgm:presLayoutVars>
          <dgm:dir/>
          <dgm:animLvl val="lvl"/>
          <dgm:resizeHandles val="exact"/>
        </dgm:presLayoutVars>
      </dgm:prSet>
      <dgm:spPr/>
    </dgm:pt>
    <dgm:pt modelId="{6C782FCB-219F-F54D-B8C8-9B390803CDF7}" type="pres">
      <dgm:prSet presAssocID="{F679B185-E8FB-0047-93BA-213C849E3D0B}" presName="compNode" presStyleCnt="0"/>
      <dgm:spPr/>
    </dgm:pt>
    <dgm:pt modelId="{5FB7865F-29EF-EF4A-9106-377FF6327EA6}" type="pres">
      <dgm:prSet presAssocID="{F679B185-E8FB-0047-93BA-213C849E3D0B}" presName="aNode" presStyleLbl="bgShp" presStyleIdx="0" presStyleCnt="3"/>
      <dgm:spPr/>
    </dgm:pt>
    <dgm:pt modelId="{6799A3CA-3487-9541-9F03-EE5A4D61F971}" type="pres">
      <dgm:prSet presAssocID="{F679B185-E8FB-0047-93BA-213C849E3D0B}" presName="textNode" presStyleLbl="bgShp" presStyleIdx="0" presStyleCnt="3"/>
      <dgm:spPr/>
    </dgm:pt>
    <dgm:pt modelId="{BAA53FC0-E537-DA46-ABE2-9723D0407D1B}" type="pres">
      <dgm:prSet presAssocID="{F679B185-E8FB-0047-93BA-213C849E3D0B}" presName="compChildNode" presStyleCnt="0"/>
      <dgm:spPr/>
    </dgm:pt>
    <dgm:pt modelId="{C2F355C7-F1A2-8A4D-AE66-3E32A902A6FD}" type="pres">
      <dgm:prSet presAssocID="{F679B185-E8FB-0047-93BA-213C849E3D0B}" presName="theInnerList" presStyleCnt="0"/>
      <dgm:spPr/>
    </dgm:pt>
    <dgm:pt modelId="{CBFCFC6F-0058-374A-BDE8-612A19138B7E}" type="pres">
      <dgm:prSet presAssocID="{DB64D81A-AEEC-2F4E-BD13-B840F25A40E5}" presName="childNode" presStyleLbl="node1" presStyleIdx="0" presStyleCnt="14" custScaleY="144011">
        <dgm:presLayoutVars>
          <dgm:bulletEnabled val="1"/>
        </dgm:presLayoutVars>
      </dgm:prSet>
      <dgm:spPr/>
    </dgm:pt>
    <dgm:pt modelId="{893DE708-77EA-B84C-B2AC-A8CD04B1B114}" type="pres">
      <dgm:prSet presAssocID="{DB64D81A-AEEC-2F4E-BD13-B840F25A40E5}" presName="aSpace2" presStyleCnt="0"/>
      <dgm:spPr/>
    </dgm:pt>
    <dgm:pt modelId="{6F6C5675-FA6A-DC4D-88DE-F5D264E323F6}" type="pres">
      <dgm:prSet presAssocID="{E9131891-B26F-DD4F-8F7A-D407844AE6E8}" presName="childNode" presStyleLbl="node1" presStyleIdx="1" presStyleCnt="14" custScaleY="140404">
        <dgm:presLayoutVars>
          <dgm:bulletEnabled val="1"/>
        </dgm:presLayoutVars>
      </dgm:prSet>
      <dgm:spPr/>
    </dgm:pt>
    <dgm:pt modelId="{93960796-8C12-264D-8F12-2F4B6BA59A21}" type="pres">
      <dgm:prSet presAssocID="{E9131891-B26F-DD4F-8F7A-D407844AE6E8}" presName="aSpace2" presStyleCnt="0"/>
      <dgm:spPr/>
    </dgm:pt>
    <dgm:pt modelId="{7A18FC86-C03F-194B-B0FD-C94D935429BB}" type="pres">
      <dgm:prSet presAssocID="{EF2831CE-D0EB-174E-8A8E-381C083FBD39}" presName="childNode" presStyleLbl="node1" presStyleIdx="2" presStyleCnt="14" custScaleY="147694" custLinFactY="7383" custLinFactNeighborX="2968" custLinFactNeighborY="100000">
        <dgm:presLayoutVars>
          <dgm:bulletEnabled val="1"/>
        </dgm:presLayoutVars>
      </dgm:prSet>
      <dgm:spPr/>
    </dgm:pt>
    <dgm:pt modelId="{29721115-AD4D-5D49-8568-365FDFF04CF1}" type="pres">
      <dgm:prSet presAssocID="{EF2831CE-D0EB-174E-8A8E-381C083FBD39}" presName="aSpace2" presStyleCnt="0"/>
      <dgm:spPr/>
    </dgm:pt>
    <dgm:pt modelId="{A8C2864F-2CC3-754E-B82E-CB6BB7260625}" type="pres">
      <dgm:prSet presAssocID="{385085A3-5078-C84C-AF75-8C55E686CFC8}" presName="childNode" presStyleLbl="node1" presStyleIdx="3" presStyleCnt="14" custScaleY="227639" custLinFactY="7902" custLinFactNeighborX="2968" custLinFactNeighborY="100000">
        <dgm:presLayoutVars>
          <dgm:bulletEnabled val="1"/>
        </dgm:presLayoutVars>
      </dgm:prSet>
      <dgm:spPr/>
    </dgm:pt>
    <dgm:pt modelId="{B6E98D46-A334-7344-9E1B-F3625D3B758E}" type="pres">
      <dgm:prSet presAssocID="{385085A3-5078-C84C-AF75-8C55E686CFC8}" presName="aSpace2" presStyleCnt="0"/>
      <dgm:spPr/>
    </dgm:pt>
    <dgm:pt modelId="{C4EFE89E-45B4-7E49-B87D-9AE3046A4A03}" type="pres">
      <dgm:prSet presAssocID="{C44D1745-6737-DC41-8635-C4CE4A66581D}" presName="childNode" presStyleLbl="node1" presStyleIdx="4" presStyleCnt="14" custLinFactY="17898" custLinFactNeighborX="2968" custLinFactNeighborY="100000">
        <dgm:presLayoutVars>
          <dgm:bulletEnabled val="1"/>
        </dgm:presLayoutVars>
      </dgm:prSet>
      <dgm:spPr/>
    </dgm:pt>
    <dgm:pt modelId="{C257E7E2-FC98-D140-8E9E-D66BD5CB647F}" type="pres">
      <dgm:prSet presAssocID="{C44D1745-6737-DC41-8635-C4CE4A66581D}" presName="aSpace2" presStyleCnt="0"/>
      <dgm:spPr/>
    </dgm:pt>
    <dgm:pt modelId="{013F66F6-6D12-454A-8BE0-6A989BA2BA1E}" type="pres">
      <dgm:prSet presAssocID="{6DC92CE4-F0FD-FF4C-89EE-F57D8838CC51}" presName="childNode" presStyleLbl="node1" presStyleIdx="5" presStyleCnt="14" custLinFactY="40183" custLinFactNeighborX="2968" custLinFactNeighborY="100000">
        <dgm:presLayoutVars>
          <dgm:bulletEnabled val="1"/>
        </dgm:presLayoutVars>
      </dgm:prSet>
      <dgm:spPr/>
    </dgm:pt>
    <dgm:pt modelId="{0F86319B-6C85-9644-8983-14FC437B6C3E}" type="pres">
      <dgm:prSet presAssocID="{F679B185-E8FB-0047-93BA-213C849E3D0B}" presName="aSpace" presStyleCnt="0"/>
      <dgm:spPr/>
    </dgm:pt>
    <dgm:pt modelId="{8793913B-12F7-1643-9468-073DD1476811}" type="pres">
      <dgm:prSet presAssocID="{0FB8711F-FB39-8F4D-986F-DE798033CBCC}" presName="compNode" presStyleCnt="0"/>
      <dgm:spPr/>
    </dgm:pt>
    <dgm:pt modelId="{5B86C8E4-298A-A247-BC49-D2E4A6434091}" type="pres">
      <dgm:prSet presAssocID="{0FB8711F-FB39-8F4D-986F-DE798033CBCC}" presName="aNode" presStyleLbl="bgShp" presStyleIdx="1" presStyleCnt="3"/>
      <dgm:spPr/>
    </dgm:pt>
    <dgm:pt modelId="{2AAC6996-7D5E-A34E-BA3E-439C931FA589}" type="pres">
      <dgm:prSet presAssocID="{0FB8711F-FB39-8F4D-986F-DE798033CBCC}" presName="textNode" presStyleLbl="bgShp" presStyleIdx="1" presStyleCnt="3"/>
      <dgm:spPr/>
    </dgm:pt>
    <dgm:pt modelId="{4F72192E-8E31-8B42-9C5C-98E2D015DE51}" type="pres">
      <dgm:prSet presAssocID="{0FB8711F-FB39-8F4D-986F-DE798033CBCC}" presName="compChildNode" presStyleCnt="0"/>
      <dgm:spPr/>
    </dgm:pt>
    <dgm:pt modelId="{67D0CA52-6B19-8A4F-AB7E-DDED82FD1239}" type="pres">
      <dgm:prSet presAssocID="{0FB8711F-FB39-8F4D-986F-DE798033CBCC}" presName="theInnerList" presStyleCnt="0"/>
      <dgm:spPr/>
    </dgm:pt>
    <dgm:pt modelId="{5242EAA6-A11E-A94E-9B08-72902435CDA6}" type="pres">
      <dgm:prSet presAssocID="{5D20B315-1CB8-0D43-8781-0AC338A62367}" presName="childNode" presStyleLbl="node1" presStyleIdx="6" presStyleCnt="14" custScaleX="115663" custLinFactY="-1813" custLinFactNeighborY="-100000">
        <dgm:presLayoutVars>
          <dgm:bulletEnabled val="1"/>
        </dgm:presLayoutVars>
      </dgm:prSet>
      <dgm:spPr/>
    </dgm:pt>
    <dgm:pt modelId="{9588E9B6-33B0-4240-BC23-611B791D95F9}" type="pres">
      <dgm:prSet presAssocID="{5D20B315-1CB8-0D43-8781-0AC338A62367}" presName="aSpace2" presStyleCnt="0"/>
      <dgm:spPr/>
    </dgm:pt>
    <dgm:pt modelId="{3CEE162B-BA21-7345-8EBD-B9EF4D9B1144}" type="pres">
      <dgm:prSet presAssocID="{E4DC7A46-191D-E247-8F20-FEBFC803DB73}" presName="childNode" presStyleLbl="node1" presStyleIdx="7" presStyleCnt="14" custScaleX="115663" custScaleY="159331">
        <dgm:presLayoutVars>
          <dgm:bulletEnabled val="1"/>
        </dgm:presLayoutVars>
      </dgm:prSet>
      <dgm:spPr/>
    </dgm:pt>
    <dgm:pt modelId="{5063AF82-8DC7-2A48-B6EA-CC6873D7D42A}" type="pres">
      <dgm:prSet presAssocID="{E4DC7A46-191D-E247-8F20-FEBFC803DB73}" presName="aSpace2" presStyleCnt="0"/>
      <dgm:spPr/>
    </dgm:pt>
    <dgm:pt modelId="{6F377B30-CF03-5149-B1DF-691F0F129C75}" type="pres">
      <dgm:prSet presAssocID="{C5DAA56A-F05A-6445-B763-C1602C7DC914}" presName="childNode" presStyleLbl="node1" presStyleIdx="8" presStyleCnt="14" custScaleX="115663">
        <dgm:presLayoutVars>
          <dgm:bulletEnabled val="1"/>
        </dgm:presLayoutVars>
      </dgm:prSet>
      <dgm:spPr/>
    </dgm:pt>
    <dgm:pt modelId="{C7922F4C-3439-4042-BEF4-5C04AF31943D}" type="pres">
      <dgm:prSet presAssocID="{C5DAA56A-F05A-6445-B763-C1602C7DC914}" presName="aSpace2" presStyleCnt="0"/>
      <dgm:spPr/>
    </dgm:pt>
    <dgm:pt modelId="{84D86CDA-62EF-8242-BFDC-3B4AEC354775}" type="pres">
      <dgm:prSet presAssocID="{9FDA0ECB-F937-584E-BFC8-CCFB4E591EA3}" presName="childNode" presStyleLbl="node1" presStyleIdx="9" presStyleCnt="14" custScaleX="115663">
        <dgm:presLayoutVars>
          <dgm:bulletEnabled val="1"/>
        </dgm:presLayoutVars>
      </dgm:prSet>
      <dgm:spPr/>
    </dgm:pt>
    <dgm:pt modelId="{C07FAB47-E2C4-3346-80C8-DA0BAA923211}" type="pres">
      <dgm:prSet presAssocID="{9FDA0ECB-F937-584E-BFC8-CCFB4E591EA3}" presName="aSpace2" presStyleCnt="0"/>
      <dgm:spPr/>
    </dgm:pt>
    <dgm:pt modelId="{72B0A230-5BAC-D44B-8AFD-E5E1D7AFDF3E}" type="pres">
      <dgm:prSet presAssocID="{8A0571CE-F47F-5844-AAB3-70110EA3B684}" presName="childNode" presStyleLbl="node1" presStyleIdx="10" presStyleCnt="14" custScaleX="115663" custScaleY="301973">
        <dgm:presLayoutVars>
          <dgm:bulletEnabled val="1"/>
        </dgm:presLayoutVars>
      </dgm:prSet>
      <dgm:spPr/>
    </dgm:pt>
    <dgm:pt modelId="{8CC26218-5C4A-9241-92D1-C16385C6C5AF}" type="pres">
      <dgm:prSet presAssocID="{8A0571CE-F47F-5844-AAB3-70110EA3B684}" presName="aSpace2" presStyleCnt="0"/>
      <dgm:spPr/>
    </dgm:pt>
    <dgm:pt modelId="{D2598745-E012-5D4B-A3AF-9F3BD114FD6A}" type="pres">
      <dgm:prSet presAssocID="{8138E8DF-91A5-874E-9574-5705F24DF271}" presName="childNode" presStyleLbl="node1" presStyleIdx="11" presStyleCnt="14" custScaleX="117325" custScaleY="148137" custLinFactY="13278" custLinFactNeighborX="-831" custLinFactNeighborY="100000">
        <dgm:presLayoutVars>
          <dgm:bulletEnabled val="1"/>
        </dgm:presLayoutVars>
      </dgm:prSet>
      <dgm:spPr/>
    </dgm:pt>
    <dgm:pt modelId="{F625138D-9651-824D-9768-B3FB3CDCB236}" type="pres">
      <dgm:prSet presAssocID="{0FB8711F-FB39-8F4D-986F-DE798033CBCC}" presName="aSpace" presStyleCnt="0"/>
      <dgm:spPr/>
    </dgm:pt>
    <dgm:pt modelId="{3A436975-8653-1047-AF28-14581BE111B2}" type="pres">
      <dgm:prSet presAssocID="{A6C1AD35-5A99-974D-A601-CD03B21B6133}" presName="compNode" presStyleCnt="0"/>
      <dgm:spPr/>
    </dgm:pt>
    <dgm:pt modelId="{D6045647-477F-2B4D-90F0-208A5B6D9124}" type="pres">
      <dgm:prSet presAssocID="{A6C1AD35-5A99-974D-A601-CD03B21B6133}" presName="aNode" presStyleLbl="bgShp" presStyleIdx="2" presStyleCnt="3" custScaleX="112079" custLinFactNeighborX="39" custLinFactNeighborY="2308"/>
      <dgm:spPr/>
    </dgm:pt>
    <dgm:pt modelId="{4D8A345C-314C-D74E-B4E0-2D51F6286D32}" type="pres">
      <dgm:prSet presAssocID="{A6C1AD35-5A99-974D-A601-CD03B21B6133}" presName="textNode" presStyleLbl="bgShp" presStyleIdx="2" presStyleCnt="3"/>
      <dgm:spPr/>
    </dgm:pt>
    <dgm:pt modelId="{23C46AEE-0F00-4742-B274-AE6A498E470F}" type="pres">
      <dgm:prSet presAssocID="{A6C1AD35-5A99-974D-A601-CD03B21B6133}" presName="compChildNode" presStyleCnt="0"/>
      <dgm:spPr/>
    </dgm:pt>
    <dgm:pt modelId="{46E6532C-450E-CD42-AC1B-AE15D12BCAAC}" type="pres">
      <dgm:prSet presAssocID="{A6C1AD35-5A99-974D-A601-CD03B21B6133}" presName="theInnerList" presStyleCnt="0"/>
      <dgm:spPr/>
    </dgm:pt>
    <dgm:pt modelId="{2093453D-4C44-6A47-AB17-732A4080C5C7}" type="pres">
      <dgm:prSet presAssocID="{ECE12DE4-69A1-CB4C-8C88-EC09C9F8988F}" presName="childNode" presStyleLbl="node1" presStyleIdx="12" presStyleCnt="14" custScaleX="129990" custScaleY="2000000" custLinFactY="-200000" custLinFactNeighborX="-832" custLinFactNeighborY="-252805">
        <dgm:presLayoutVars>
          <dgm:bulletEnabled val="1"/>
        </dgm:presLayoutVars>
      </dgm:prSet>
      <dgm:spPr/>
    </dgm:pt>
    <dgm:pt modelId="{969BED49-C86A-EA44-B09E-7CC1CE94A1D4}" type="pres">
      <dgm:prSet presAssocID="{ECE12DE4-69A1-CB4C-8C88-EC09C9F8988F}" presName="aSpace2" presStyleCnt="0"/>
      <dgm:spPr/>
    </dgm:pt>
    <dgm:pt modelId="{3ED176CA-9A49-D54B-AF5A-9AE6AFECD559}" type="pres">
      <dgm:prSet presAssocID="{449048BF-99EA-F54A-9F31-1CF920375F0F}" presName="childNode" presStyleLbl="node1" presStyleIdx="13" presStyleCnt="14" custScaleX="132858" custScaleY="2000000" custLinFactY="85308" custLinFactNeighborX="3669" custLinFactNeighborY="100000">
        <dgm:presLayoutVars>
          <dgm:bulletEnabled val="1"/>
        </dgm:presLayoutVars>
      </dgm:prSet>
      <dgm:spPr/>
    </dgm:pt>
  </dgm:ptLst>
  <dgm:cxnLst>
    <dgm:cxn modelId="{4B7AA703-85BC-0545-802C-5008B1809D79}" srcId="{449048BF-99EA-F54A-9F31-1CF920375F0F}" destId="{B7399CF7-304A-664B-87D0-6D35C4DDA297}" srcOrd="0" destOrd="0" parTransId="{6051D227-98BC-1445-AE92-A36ABA18B017}" sibTransId="{B7E01FA2-2640-A34D-800D-4E2F9FB17B67}"/>
    <dgm:cxn modelId="{3F34B90F-0AE8-844D-9254-3D1B65D484DC}" type="presOf" srcId="{ECE12DE4-69A1-CB4C-8C88-EC09C9F8988F}" destId="{2093453D-4C44-6A47-AB17-732A4080C5C7}" srcOrd="0" destOrd="0" presId="urn:microsoft.com/office/officeart/2005/8/layout/lProcess2"/>
    <dgm:cxn modelId="{79DAA412-7F3C-F743-AB7D-7CC1C5494DB1}" srcId="{F679B185-E8FB-0047-93BA-213C849E3D0B}" destId="{E9131891-B26F-DD4F-8F7A-D407844AE6E8}" srcOrd="1" destOrd="0" parTransId="{09586F27-F131-E34F-B9E1-829292BACB6A}" sibTransId="{CB368EB1-5D88-544D-9B41-387276D13FB5}"/>
    <dgm:cxn modelId="{BF8CA51B-54D6-704E-A262-518EDB07E227}" type="presOf" srcId="{E9131891-B26F-DD4F-8F7A-D407844AE6E8}" destId="{6F6C5675-FA6A-DC4D-88DE-F5D264E323F6}" srcOrd="0" destOrd="0" presId="urn:microsoft.com/office/officeart/2005/8/layout/lProcess2"/>
    <dgm:cxn modelId="{AC2D5328-17E1-F745-B6C1-C031C59D02F5}" srcId="{720BB15F-8AB9-DD4A-90A2-F326BC9532CA}" destId="{0FB8711F-FB39-8F4D-986F-DE798033CBCC}" srcOrd="1" destOrd="0" parTransId="{03B88307-B2A5-1E42-AEB3-EC6D1B772A17}" sibTransId="{498D3C3F-82AF-E344-93AB-B6D663291B98}"/>
    <dgm:cxn modelId="{6D008D2C-90B8-2C46-83F8-C2E086076C51}" srcId="{ECE12DE4-69A1-CB4C-8C88-EC09C9F8988F}" destId="{8E85227D-25B0-0340-A648-9DF7B8B139D9}" srcOrd="3" destOrd="0" parTransId="{FC9F6449-368F-EC40-91C5-F7F01E1C5B44}" sibTransId="{8DB1AA80-58CC-7845-BC29-3F829825AD91}"/>
    <dgm:cxn modelId="{6F9CD230-61EF-A248-9B87-C6F70F68CD39}" srcId="{449048BF-99EA-F54A-9F31-1CF920375F0F}" destId="{A1FCF4DE-DED1-D241-BADF-C5C03EA68DD8}" srcOrd="2" destOrd="0" parTransId="{9D06F121-C6C8-6E44-A5A2-933E48EBCA01}" sibTransId="{19FCA66D-7361-5C42-AD68-5F32DF57F74E}"/>
    <dgm:cxn modelId="{DA7ACF31-DFEA-E54B-9E8F-F09771627CE4}" type="presOf" srcId="{C44D1745-6737-DC41-8635-C4CE4A66581D}" destId="{C4EFE89E-45B4-7E49-B87D-9AE3046A4A03}" srcOrd="0" destOrd="0" presId="urn:microsoft.com/office/officeart/2005/8/layout/lProcess2"/>
    <dgm:cxn modelId="{D9B93433-57E1-48C8-B5AA-3844F82C19DA}" srcId="{ECE12DE4-69A1-CB4C-8C88-EC09C9F8988F}" destId="{3510263D-34D1-4888-A5CC-E9148C8F820C}" srcOrd="2" destOrd="0" parTransId="{0BD7D659-F503-461A-828B-964F7D8425C7}" sibTransId="{90CCB180-64C9-4109-9662-2C79AEF8FBDF}"/>
    <dgm:cxn modelId="{AD310A34-8D54-B44D-8159-22F99AC6B155}" srcId="{F679B185-E8FB-0047-93BA-213C849E3D0B}" destId="{DB64D81A-AEEC-2F4E-BD13-B840F25A40E5}" srcOrd="0" destOrd="0" parTransId="{A79FDE25-FCD6-9644-BC16-55F7CE393C26}" sibTransId="{D6CFCB05-3BBB-5142-B2B0-394EE8CDFBA8}"/>
    <dgm:cxn modelId="{36A35F35-68AD-8D44-87E5-306D7D326FBE}" srcId="{ECE12DE4-69A1-CB4C-8C88-EC09C9F8988F}" destId="{4462AE26-AA30-DE46-9B2F-6DA810B37FFC}" srcOrd="0" destOrd="0" parTransId="{9FDBB736-5CC1-5C4F-9447-C26D82650513}" sibTransId="{18C86814-9533-E941-B5A7-F3F06054B643}"/>
    <dgm:cxn modelId="{9CB6183B-68CA-6D47-BABE-A4B281FBCAEA}" srcId="{720BB15F-8AB9-DD4A-90A2-F326BC9532CA}" destId="{A6C1AD35-5A99-974D-A601-CD03B21B6133}" srcOrd="2" destOrd="0" parTransId="{DA851D09-782F-634F-846B-AE742AA645EB}" sibTransId="{7950F162-B23E-8447-A328-DC69989F3CBF}"/>
    <dgm:cxn modelId="{80E08C60-37A0-DB46-85FD-A27D05D7CA20}" type="presOf" srcId="{0FB8711F-FB39-8F4D-986F-DE798033CBCC}" destId="{5B86C8E4-298A-A247-BC49-D2E4A6434091}" srcOrd="0" destOrd="0" presId="urn:microsoft.com/office/officeart/2005/8/layout/lProcess2"/>
    <dgm:cxn modelId="{86903642-A5CB-AF4A-A936-9E3EEAECA5FC}" srcId="{449048BF-99EA-F54A-9F31-1CF920375F0F}" destId="{8B22D3A3-BFA8-8548-9287-D5E26BFFCA6F}" srcOrd="1" destOrd="0" parTransId="{1B6EC6C2-1EB6-C84F-9CCA-0740706FDD7A}" sibTransId="{04B99296-13F4-0341-9201-022E0EE2918C}"/>
    <dgm:cxn modelId="{3D289542-AB06-0740-BA5B-4FDC4A69FF7B}" type="presOf" srcId="{8138E8DF-91A5-874E-9574-5705F24DF271}" destId="{D2598745-E012-5D4B-A3AF-9F3BD114FD6A}" srcOrd="0" destOrd="0" presId="urn:microsoft.com/office/officeart/2005/8/layout/lProcess2"/>
    <dgm:cxn modelId="{F0130665-7FF3-2D42-A99C-A87A53D4156C}" srcId="{0FB8711F-FB39-8F4D-986F-DE798033CBCC}" destId="{C5DAA56A-F05A-6445-B763-C1602C7DC914}" srcOrd="2" destOrd="0" parTransId="{4DE55E71-9517-FD42-BEEC-7B08270528CD}" sibTransId="{E8919C40-456D-8048-A66D-3039E93E01FE}"/>
    <dgm:cxn modelId="{45159745-2580-7745-83E1-FF3D953F5973}" srcId="{0FB8711F-FB39-8F4D-986F-DE798033CBCC}" destId="{8A0571CE-F47F-5844-AAB3-70110EA3B684}" srcOrd="4" destOrd="0" parTransId="{CE73BC11-6FC0-3E43-A48C-C4FF03458BEB}" sibTransId="{B38D8BB6-AA16-494C-8BBB-9AA017FF3556}"/>
    <dgm:cxn modelId="{9E602946-8B9C-A64D-BFB3-310C0FD5100F}" srcId="{F679B185-E8FB-0047-93BA-213C849E3D0B}" destId="{385085A3-5078-C84C-AF75-8C55E686CFC8}" srcOrd="3" destOrd="0" parTransId="{E63DF179-038F-0645-BD1B-14295690C7DE}" sibTransId="{BF8FCA9A-058B-D74E-9B03-C828595098BC}"/>
    <dgm:cxn modelId="{DE4B1A67-4C97-A849-A68F-73CB837C2A43}" type="presOf" srcId="{C5DAA56A-F05A-6445-B763-C1602C7DC914}" destId="{6F377B30-CF03-5149-B1DF-691F0F129C75}" srcOrd="0" destOrd="0" presId="urn:microsoft.com/office/officeart/2005/8/layout/lProcess2"/>
    <dgm:cxn modelId="{DC5E1B67-CCA9-F547-AC21-A6C02FA39EB4}" srcId="{720BB15F-8AB9-DD4A-90A2-F326BC9532CA}" destId="{F679B185-E8FB-0047-93BA-213C849E3D0B}" srcOrd="0" destOrd="0" parTransId="{2EB46A5B-E432-6A40-90B5-0B97848B27C7}" sibTransId="{088AF449-71B5-0C4C-8D35-05459F5556D4}"/>
    <dgm:cxn modelId="{6C9C5948-3F43-D648-B1A5-AEA495C972D0}" type="presOf" srcId="{B7399CF7-304A-664B-87D0-6D35C4DDA297}" destId="{3ED176CA-9A49-D54B-AF5A-9AE6AFECD559}" srcOrd="0" destOrd="1" presId="urn:microsoft.com/office/officeart/2005/8/layout/lProcess2"/>
    <dgm:cxn modelId="{7D164E6A-46B9-D143-AF3F-A522A7DD666F}" type="presOf" srcId="{E4DC7A46-191D-E247-8F20-FEBFC803DB73}" destId="{3CEE162B-BA21-7345-8EBD-B9EF4D9B1144}" srcOrd="0" destOrd="0" presId="urn:microsoft.com/office/officeart/2005/8/layout/lProcess2"/>
    <dgm:cxn modelId="{D5FE824B-5DE9-4A42-A7B4-433CBF0C8B24}" srcId="{A6C1AD35-5A99-974D-A601-CD03B21B6133}" destId="{449048BF-99EA-F54A-9F31-1CF920375F0F}" srcOrd="1" destOrd="0" parTransId="{8EDAB879-BF81-7047-981C-9D174036AFB8}" sibTransId="{CDE9BE4D-86AA-6C42-9192-F9C76D763759}"/>
    <dgm:cxn modelId="{BD9E8C4C-5E9C-534C-93B4-C3DE5A155C2C}" srcId="{F679B185-E8FB-0047-93BA-213C849E3D0B}" destId="{EF2831CE-D0EB-174E-8A8E-381C083FBD39}" srcOrd="2" destOrd="0" parTransId="{92525B03-9E8F-8143-8F6C-5EDB3B7038C7}" sibTransId="{F1083763-D89E-5A4E-B4A7-FA5C2FE88253}"/>
    <dgm:cxn modelId="{C854ED4E-8036-7446-B45C-E86CA6CC4557}" type="presOf" srcId="{385085A3-5078-C84C-AF75-8C55E686CFC8}" destId="{A8C2864F-2CC3-754E-B82E-CB6BB7260625}" srcOrd="0" destOrd="0" presId="urn:microsoft.com/office/officeart/2005/8/layout/lProcess2"/>
    <dgm:cxn modelId="{7E1A3A51-1385-CE43-B6FF-D2B04F9CE092}" type="presOf" srcId="{8A0571CE-F47F-5844-AAB3-70110EA3B684}" destId="{72B0A230-5BAC-D44B-8AFD-E5E1D7AFDF3E}" srcOrd="0" destOrd="0" presId="urn:microsoft.com/office/officeart/2005/8/layout/lProcess2"/>
    <dgm:cxn modelId="{2BBBCB55-9ED3-0C49-A904-FB4603FC94FD}" type="presOf" srcId="{A6C1AD35-5A99-974D-A601-CD03B21B6133}" destId="{D6045647-477F-2B4D-90F0-208A5B6D9124}" srcOrd="0" destOrd="0" presId="urn:microsoft.com/office/officeart/2005/8/layout/lProcess2"/>
    <dgm:cxn modelId="{D4982377-4D79-4E43-8A60-97DDBE31BF7E}" srcId="{0FB8711F-FB39-8F4D-986F-DE798033CBCC}" destId="{9FDA0ECB-F937-584E-BFC8-CCFB4E591EA3}" srcOrd="3" destOrd="0" parTransId="{CA4E685B-DABF-7843-90B7-69EE7C3364A4}" sibTransId="{54F2929D-6678-DD40-9F2A-A2CC126D7DAC}"/>
    <dgm:cxn modelId="{F5AA8878-A439-1043-B6E0-6190D6151239}" type="presOf" srcId="{F679B185-E8FB-0047-93BA-213C849E3D0B}" destId="{6799A3CA-3487-9541-9F03-EE5A4D61F971}" srcOrd="1" destOrd="0" presId="urn:microsoft.com/office/officeart/2005/8/layout/lProcess2"/>
    <dgm:cxn modelId="{574A8D7D-086F-714D-A916-C160B50863DE}" type="presOf" srcId="{5D20B315-1CB8-0D43-8781-0AC338A62367}" destId="{5242EAA6-A11E-A94E-9B08-72902435CDA6}" srcOrd="0" destOrd="0" presId="urn:microsoft.com/office/officeart/2005/8/layout/lProcess2"/>
    <dgm:cxn modelId="{C5875082-F35B-B047-8161-5C17454E128F}" type="presOf" srcId="{05C81B1B-8D2E-6841-9305-641E4DA7AAC0}" destId="{2093453D-4C44-6A47-AB17-732A4080C5C7}" srcOrd="0" destOrd="2" presId="urn:microsoft.com/office/officeart/2005/8/layout/lProcess2"/>
    <dgm:cxn modelId="{B1125F87-CFF4-624A-B472-25BECF59E946}" type="presOf" srcId="{DB64D81A-AEEC-2F4E-BD13-B840F25A40E5}" destId="{CBFCFC6F-0058-374A-BDE8-612A19138B7E}" srcOrd="0" destOrd="0" presId="urn:microsoft.com/office/officeart/2005/8/layout/lProcess2"/>
    <dgm:cxn modelId="{207E458C-DCE8-B541-80BA-4D597EC0B523}" type="presOf" srcId="{8E85227D-25B0-0340-A648-9DF7B8B139D9}" destId="{2093453D-4C44-6A47-AB17-732A4080C5C7}" srcOrd="0" destOrd="4" presId="urn:microsoft.com/office/officeart/2005/8/layout/lProcess2"/>
    <dgm:cxn modelId="{F5335B8E-A501-7546-ACC7-1260E2BC0686}" type="presOf" srcId="{4462AE26-AA30-DE46-9B2F-6DA810B37FFC}" destId="{2093453D-4C44-6A47-AB17-732A4080C5C7}" srcOrd="0" destOrd="1" presId="urn:microsoft.com/office/officeart/2005/8/layout/lProcess2"/>
    <dgm:cxn modelId="{0A2D2DA2-408D-4939-8383-052B810C9D16}" type="presOf" srcId="{3510263D-34D1-4888-A5CC-E9148C8F820C}" destId="{2093453D-4C44-6A47-AB17-732A4080C5C7}" srcOrd="0" destOrd="3" presId="urn:microsoft.com/office/officeart/2005/8/layout/lProcess2"/>
    <dgm:cxn modelId="{9F45A2A3-F68C-714C-8CCB-32EBCCC16177}" srcId="{F679B185-E8FB-0047-93BA-213C849E3D0B}" destId="{6DC92CE4-F0FD-FF4C-89EE-F57D8838CC51}" srcOrd="5" destOrd="0" parTransId="{3FF141E7-F5F2-3F46-8C8A-4440A9FD8518}" sibTransId="{D33D71BB-B185-CE47-BA52-E19B510B1065}"/>
    <dgm:cxn modelId="{85E214A7-9338-3044-988A-9A50A9C9D642}" type="presOf" srcId="{449048BF-99EA-F54A-9F31-1CF920375F0F}" destId="{3ED176CA-9A49-D54B-AF5A-9AE6AFECD559}" srcOrd="0" destOrd="0" presId="urn:microsoft.com/office/officeart/2005/8/layout/lProcess2"/>
    <dgm:cxn modelId="{47823BB1-D5F9-5346-873C-E3F9EA8F7C48}" type="presOf" srcId="{A6C1AD35-5A99-974D-A601-CD03B21B6133}" destId="{4D8A345C-314C-D74E-B4E0-2D51F6286D32}" srcOrd="1" destOrd="0" presId="urn:microsoft.com/office/officeart/2005/8/layout/lProcess2"/>
    <dgm:cxn modelId="{81ABD9B3-D8A7-D44D-8B4D-329B152B66A4}" srcId="{0FB8711F-FB39-8F4D-986F-DE798033CBCC}" destId="{8138E8DF-91A5-874E-9574-5705F24DF271}" srcOrd="5" destOrd="0" parTransId="{EEEE050B-84D2-DC41-9F0E-2D28836736E6}" sibTransId="{87064535-A16C-E941-A0FD-83133B1B2475}"/>
    <dgm:cxn modelId="{2B083CBE-9891-634C-97C8-259C1C43D070}" srcId="{0FB8711F-FB39-8F4D-986F-DE798033CBCC}" destId="{5D20B315-1CB8-0D43-8781-0AC338A62367}" srcOrd="0" destOrd="0" parTransId="{0C723F2B-E143-A94E-9447-9DDEDDDCCBBC}" sibTransId="{C20295AA-7FDD-5847-9433-E04D0541719F}"/>
    <dgm:cxn modelId="{23730ED0-C896-CC4A-AAF5-08EE96709B16}" type="presOf" srcId="{EF2831CE-D0EB-174E-8A8E-381C083FBD39}" destId="{7A18FC86-C03F-194B-B0FD-C94D935429BB}" srcOrd="0" destOrd="0" presId="urn:microsoft.com/office/officeart/2005/8/layout/lProcess2"/>
    <dgm:cxn modelId="{E37382D1-5ED0-454E-B30A-C51DABBBB7D4}" srcId="{A6C1AD35-5A99-974D-A601-CD03B21B6133}" destId="{ECE12DE4-69A1-CB4C-8C88-EC09C9F8988F}" srcOrd="0" destOrd="0" parTransId="{6EB03281-E644-4A4F-885C-1D103443C283}" sibTransId="{477976B9-96B5-3744-8D3E-F067EAC4CD1E}"/>
    <dgm:cxn modelId="{6A5E08DA-F46D-8444-BFC7-7A81501C72A4}" type="presOf" srcId="{A1FCF4DE-DED1-D241-BADF-C5C03EA68DD8}" destId="{3ED176CA-9A49-D54B-AF5A-9AE6AFECD559}" srcOrd="0" destOrd="3" presId="urn:microsoft.com/office/officeart/2005/8/layout/lProcess2"/>
    <dgm:cxn modelId="{AB4423DE-3F98-A044-AB79-EEEC251D82B9}" srcId="{0FB8711F-FB39-8F4D-986F-DE798033CBCC}" destId="{E4DC7A46-191D-E247-8F20-FEBFC803DB73}" srcOrd="1" destOrd="0" parTransId="{80D3C31E-A776-E243-93D1-C4969060744F}" sibTransId="{2D1C12D8-D0A4-2940-954D-01EA3756005B}"/>
    <dgm:cxn modelId="{2CFB2DEE-9B04-6245-9918-A930E8A0561F}" type="presOf" srcId="{720BB15F-8AB9-DD4A-90A2-F326BC9532CA}" destId="{8CA0E43D-AF8E-8347-BD4F-536BA29DC7C8}" srcOrd="0" destOrd="0" presId="urn:microsoft.com/office/officeart/2005/8/layout/lProcess2"/>
    <dgm:cxn modelId="{30FE39EF-D686-AC48-A054-AB66E0419C8F}" type="presOf" srcId="{6DC92CE4-F0FD-FF4C-89EE-F57D8838CC51}" destId="{013F66F6-6D12-454A-8BE0-6A989BA2BA1E}" srcOrd="0" destOrd="0" presId="urn:microsoft.com/office/officeart/2005/8/layout/lProcess2"/>
    <dgm:cxn modelId="{4F218FF1-CD4A-4343-B7B9-4A5864CBF2E5}" srcId="{ECE12DE4-69A1-CB4C-8C88-EC09C9F8988F}" destId="{05C81B1B-8D2E-6841-9305-641E4DA7AAC0}" srcOrd="1" destOrd="0" parTransId="{860BEAB9-7110-7B42-A47B-F63315AAC156}" sibTransId="{120B79E7-2E39-2943-ABCF-73FA7E5324E2}"/>
    <dgm:cxn modelId="{7DE25BF5-CB72-5748-9E80-F7D0B9E03754}" type="presOf" srcId="{0FB8711F-FB39-8F4D-986F-DE798033CBCC}" destId="{2AAC6996-7D5E-A34E-BA3E-439C931FA589}" srcOrd="1" destOrd="0" presId="urn:microsoft.com/office/officeart/2005/8/layout/lProcess2"/>
    <dgm:cxn modelId="{2412D4F5-7702-2C44-B4CB-4DBD23774DF3}" type="presOf" srcId="{9FDA0ECB-F937-584E-BFC8-CCFB4E591EA3}" destId="{84D86CDA-62EF-8242-BFDC-3B4AEC354775}" srcOrd="0" destOrd="0" presId="urn:microsoft.com/office/officeart/2005/8/layout/lProcess2"/>
    <dgm:cxn modelId="{F2502AF8-C08B-1B46-81DA-A371920EFA5F}" type="presOf" srcId="{8B22D3A3-BFA8-8548-9287-D5E26BFFCA6F}" destId="{3ED176CA-9A49-D54B-AF5A-9AE6AFECD559}" srcOrd="0" destOrd="2" presId="urn:microsoft.com/office/officeart/2005/8/layout/lProcess2"/>
    <dgm:cxn modelId="{2AFA8CFA-23CA-874E-9969-E7353B3066F9}" srcId="{F679B185-E8FB-0047-93BA-213C849E3D0B}" destId="{C44D1745-6737-DC41-8635-C4CE4A66581D}" srcOrd="4" destOrd="0" parTransId="{B5F8491F-F7EB-B743-8B98-2F0C913673B9}" sibTransId="{626E41D8-CA12-1947-B2CB-DF0D47D08B33}"/>
    <dgm:cxn modelId="{53163CFE-7E21-FF42-86C8-2FB844A76462}" type="presOf" srcId="{F679B185-E8FB-0047-93BA-213C849E3D0B}" destId="{5FB7865F-29EF-EF4A-9106-377FF6327EA6}" srcOrd="0" destOrd="0" presId="urn:microsoft.com/office/officeart/2005/8/layout/lProcess2"/>
    <dgm:cxn modelId="{D9A79D03-391B-DB4F-854B-64595D91219C}" type="presParOf" srcId="{8CA0E43D-AF8E-8347-BD4F-536BA29DC7C8}" destId="{6C782FCB-219F-F54D-B8C8-9B390803CDF7}" srcOrd="0" destOrd="0" presId="urn:microsoft.com/office/officeart/2005/8/layout/lProcess2"/>
    <dgm:cxn modelId="{10A88E42-70F4-AB41-ACF3-DAB083FBA7BF}" type="presParOf" srcId="{6C782FCB-219F-F54D-B8C8-9B390803CDF7}" destId="{5FB7865F-29EF-EF4A-9106-377FF6327EA6}" srcOrd="0" destOrd="0" presId="urn:microsoft.com/office/officeart/2005/8/layout/lProcess2"/>
    <dgm:cxn modelId="{43296F57-0F33-B943-B6F1-8A4134FF0974}" type="presParOf" srcId="{6C782FCB-219F-F54D-B8C8-9B390803CDF7}" destId="{6799A3CA-3487-9541-9F03-EE5A4D61F971}" srcOrd="1" destOrd="0" presId="urn:microsoft.com/office/officeart/2005/8/layout/lProcess2"/>
    <dgm:cxn modelId="{4F9DABE7-F99A-1047-91A3-FD3E89280537}" type="presParOf" srcId="{6C782FCB-219F-F54D-B8C8-9B390803CDF7}" destId="{BAA53FC0-E537-DA46-ABE2-9723D0407D1B}" srcOrd="2" destOrd="0" presId="urn:microsoft.com/office/officeart/2005/8/layout/lProcess2"/>
    <dgm:cxn modelId="{9413A3BC-EB2A-294A-8540-1975D8B28731}" type="presParOf" srcId="{BAA53FC0-E537-DA46-ABE2-9723D0407D1B}" destId="{C2F355C7-F1A2-8A4D-AE66-3E32A902A6FD}" srcOrd="0" destOrd="0" presId="urn:microsoft.com/office/officeart/2005/8/layout/lProcess2"/>
    <dgm:cxn modelId="{784BA2C0-E3B5-3547-AA5E-0F38430F638F}" type="presParOf" srcId="{C2F355C7-F1A2-8A4D-AE66-3E32A902A6FD}" destId="{CBFCFC6F-0058-374A-BDE8-612A19138B7E}" srcOrd="0" destOrd="0" presId="urn:microsoft.com/office/officeart/2005/8/layout/lProcess2"/>
    <dgm:cxn modelId="{E5F29D92-EDCB-6849-A90F-F3E466D4F40E}" type="presParOf" srcId="{C2F355C7-F1A2-8A4D-AE66-3E32A902A6FD}" destId="{893DE708-77EA-B84C-B2AC-A8CD04B1B114}" srcOrd="1" destOrd="0" presId="urn:microsoft.com/office/officeart/2005/8/layout/lProcess2"/>
    <dgm:cxn modelId="{372CB9F9-D2D8-4A42-AC4C-B9D433D8B290}" type="presParOf" srcId="{C2F355C7-F1A2-8A4D-AE66-3E32A902A6FD}" destId="{6F6C5675-FA6A-DC4D-88DE-F5D264E323F6}" srcOrd="2" destOrd="0" presId="urn:microsoft.com/office/officeart/2005/8/layout/lProcess2"/>
    <dgm:cxn modelId="{3220ACEF-DD3C-504F-A4CD-B81CD1F4559E}" type="presParOf" srcId="{C2F355C7-F1A2-8A4D-AE66-3E32A902A6FD}" destId="{93960796-8C12-264D-8F12-2F4B6BA59A21}" srcOrd="3" destOrd="0" presId="urn:microsoft.com/office/officeart/2005/8/layout/lProcess2"/>
    <dgm:cxn modelId="{8F6DF86B-6050-5B4F-93F0-6F99F15779E7}" type="presParOf" srcId="{C2F355C7-F1A2-8A4D-AE66-3E32A902A6FD}" destId="{7A18FC86-C03F-194B-B0FD-C94D935429BB}" srcOrd="4" destOrd="0" presId="urn:microsoft.com/office/officeart/2005/8/layout/lProcess2"/>
    <dgm:cxn modelId="{6AE72B3B-963B-0449-9C04-4E09C8A67EAF}" type="presParOf" srcId="{C2F355C7-F1A2-8A4D-AE66-3E32A902A6FD}" destId="{29721115-AD4D-5D49-8568-365FDFF04CF1}" srcOrd="5" destOrd="0" presId="urn:microsoft.com/office/officeart/2005/8/layout/lProcess2"/>
    <dgm:cxn modelId="{0FFA9814-772E-0442-B570-CE23F4F9EF16}" type="presParOf" srcId="{C2F355C7-F1A2-8A4D-AE66-3E32A902A6FD}" destId="{A8C2864F-2CC3-754E-B82E-CB6BB7260625}" srcOrd="6" destOrd="0" presId="urn:microsoft.com/office/officeart/2005/8/layout/lProcess2"/>
    <dgm:cxn modelId="{65502BF1-479F-8247-B20F-5D8F893107FF}" type="presParOf" srcId="{C2F355C7-F1A2-8A4D-AE66-3E32A902A6FD}" destId="{B6E98D46-A334-7344-9E1B-F3625D3B758E}" srcOrd="7" destOrd="0" presId="urn:microsoft.com/office/officeart/2005/8/layout/lProcess2"/>
    <dgm:cxn modelId="{15AD7094-D061-1844-A58C-5F6B82090292}" type="presParOf" srcId="{C2F355C7-F1A2-8A4D-AE66-3E32A902A6FD}" destId="{C4EFE89E-45B4-7E49-B87D-9AE3046A4A03}" srcOrd="8" destOrd="0" presId="urn:microsoft.com/office/officeart/2005/8/layout/lProcess2"/>
    <dgm:cxn modelId="{B830A6E0-3813-1549-8237-EA85C6408F9D}" type="presParOf" srcId="{C2F355C7-F1A2-8A4D-AE66-3E32A902A6FD}" destId="{C257E7E2-FC98-D140-8E9E-D66BD5CB647F}" srcOrd="9" destOrd="0" presId="urn:microsoft.com/office/officeart/2005/8/layout/lProcess2"/>
    <dgm:cxn modelId="{35E61535-2E3F-B549-9FAC-F359B92C781B}" type="presParOf" srcId="{C2F355C7-F1A2-8A4D-AE66-3E32A902A6FD}" destId="{013F66F6-6D12-454A-8BE0-6A989BA2BA1E}" srcOrd="10" destOrd="0" presId="urn:microsoft.com/office/officeart/2005/8/layout/lProcess2"/>
    <dgm:cxn modelId="{A33A6A86-BED4-7043-859B-26EEC88C2D5A}" type="presParOf" srcId="{8CA0E43D-AF8E-8347-BD4F-536BA29DC7C8}" destId="{0F86319B-6C85-9644-8983-14FC437B6C3E}" srcOrd="1" destOrd="0" presId="urn:microsoft.com/office/officeart/2005/8/layout/lProcess2"/>
    <dgm:cxn modelId="{8C44031B-0C29-AC40-A7F1-2DC5F5D915D4}" type="presParOf" srcId="{8CA0E43D-AF8E-8347-BD4F-536BA29DC7C8}" destId="{8793913B-12F7-1643-9468-073DD1476811}" srcOrd="2" destOrd="0" presId="urn:microsoft.com/office/officeart/2005/8/layout/lProcess2"/>
    <dgm:cxn modelId="{71BCA511-452D-1547-BF24-04B5BF313EE2}" type="presParOf" srcId="{8793913B-12F7-1643-9468-073DD1476811}" destId="{5B86C8E4-298A-A247-BC49-D2E4A6434091}" srcOrd="0" destOrd="0" presId="urn:microsoft.com/office/officeart/2005/8/layout/lProcess2"/>
    <dgm:cxn modelId="{A353EB88-B415-3348-9675-C9C479E802B8}" type="presParOf" srcId="{8793913B-12F7-1643-9468-073DD1476811}" destId="{2AAC6996-7D5E-A34E-BA3E-439C931FA589}" srcOrd="1" destOrd="0" presId="urn:microsoft.com/office/officeart/2005/8/layout/lProcess2"/>
    <dgm:cxn modelId="{A5549D38-688D-9A40-84D1-B40F2692118E}" type="presParOf" srcId="{8793913B-12F7-1643-9468-073DD1476811}" destId="{4F72192E-8E31-8B42-9C5C-98E2D015DE51}" srcOrd="2" destOrd="0" presId="urn:microsoft.com/office/officeart/2005/8/layout/lProcess2"/>
    <dgm:cxn modelId="{7D753524-8A86-F040-A50E-B24A493942AC}" type="presParOf" srcId="{4F72192E-8E31-8B42-9C5C-98E2D015DE51}" destId="{67D0CA52-6B19-8A4F-AB7E-DDED82FD1239}" srcOrd="0" destOrd="0" presId="urn:microsoft.com/office/officeart/2005/8/layout/lProcess2"/>
    <dgm:cxn modelId="{95881174-CA5C-234E-AE10-BA9723C18B65}" type="presParOf" srcId="{67D0CA52-6B19-8A4F-AB7E-DDED82FD1239}" destId="{5242EAA6-A11E-A94E-9B08-72902435CDA6}" srcOrd="0" destOrd="0" presId="urn:microsoft.com/office/officeart/2005/8/layout/lProcess2"/>
    <dgm:cxn modelId="{22972DAF-2449-3542-8FE3-CC89373B6DB2}" type="presParOf" srcId="{67D0CA52-6B19-8A4F-AB7E-DDED82FD1239}" destId="{9588E9B6-33B0-4240-BC23-611B791D95F9}" srcOrd="1" destOrd="0" presId="urn:microsoft.com/office/officeart/2005/8/layout/lProcess2"/>
    <dgm:cxn modelId="{DB40DB7D-9F51-6044-B7B0-FE15F6192D0E}" type="presParOf" srcId="{67D0CA52-6B19-8A4F-AB7E-DDED82FD1239}" destId="{3CEE162B-BA21-7345-8EBD-B9EF4D9B1144}" srcOrd="2" destOrd="0" presId="urn:microsoft.com/office/officeart/2005/8/layout/lProcess2"/>
    <dgm:cxn modelId="{0F01B4F1-EC22-524E-9C8E-BA76B19DDB41}" type="presParOf" srcId="{67D0CA52-6B19-8A4F-AB7E-DDED82FD1239}" destId="{5063AF82-8DC7-2A48-B6EA-CC6873D7D42A}" srcOrd="3" destOrd="0" presId="urn:microsoft.com/office/officeart/2005/8/layout/lProcess2"/>
    <dgm:cxn modelId="{7393B526-D284-314D-AE0C-E6A43B783770}" type="presParOf" srcId="{67D0CA52-6B19-8A4F-AB7E-DDED82FD1239}" destId="{6F377B30-CF03-5149-B1DF-691F0F129C75}" srcOrd="4" destOrd="0" presId="urn:microsoft.com/office/officeart/2005/8/layout/lProcess2"/>
    <dgm:cxn modelId="{C626C85E-BC88-6148-A267-7B9F0BA2A602}" type="presParOf" srcId="{67D0CA52-6B19-8A4F-AB7E-DDED82FD1239}" destId="{C7922F4C-3439-4042-BEF4-5C04AF31943D}" srcOrd="5" destOrd="0" presId="urn:microsoft.com/office/officeart/2005/8/layout/lProcess2"/>
    <dgm:cxn modelId="{63B402E7-2260-1842-99C7-9903FFB2295D}" type="presParOf" srcId="{67D0CA52-6B19-8A4F-AB7E-DDED82FD1239}" destId="{84D86CDA-62EF-8242-BFDC-3B4AEC354775}" srcOrd="6" destOrd="0" presId="urn:microsoft.com/office/officeart/2005/8/layout/lProcess2"/>
    <dgm:cxn modelId="{35C54FCA-A100-4B4A-BD5C-C7E8CF7620D0}" type="presParOf" srcId="{67D0CA52-6B19-8A4F-AB7E-DDED82FD1239}" destId="{C07FAB47-E2C4-3346-80C8-DA0BAA923211}" srcOrd="7" destOrd="0" presId="urn:microsoft.com/office/officeart/2005/8/layout/lProcess2"/>
    <dgm:cxn modelId="{A3D63622-D174-5542-9637-95ABF0E1D1C8}" type="presParOf" srcId="{67D0CA52-6B19-8A4F-AB7E-DDED82FD1239}" destId="{72B0A230-5BAC-D44B-8AFD-E5E1D7AFDF3E}" srcOrd="8" destOrd="0" presId="urn:microsoft.com/office/officeart/2005/8/layout/lProcess2"/>
    <dgm:cxn modelId="{8F79E3DF-BF0E-D94C-B72A-17E606B6F43E}" type="presParOf" srcId="{67D0CA52-6B19-8A4F-AB7E-DDED82FD1239}" destId="{8CC26218-5C4A-9241-92D1-C16385C6C5AF}" srcOrd="9" destOrd="0" presId="urn:microsoft.com/office/officeart/2005/8/layout/lProcess2"/>
    <dgm:cxn modelId="{2E352753-5CB4-B34A-B423-421E64A56186}" type="presParOf" srcId="{67D0CA52-6B19-8A4F-AB7E-DDED82FD1239}" destId="{D2598745-E012-5D4B-A3AF-9F3BD114FD6A}" srcOrd="10" destOrd="0" presId="urn:microsoft.com/office/officeart/2005/8/layout/lProcess2"/>
    <dgm:cxn modelId="{50176CBC-F1D2-ED4F-8D2D-47FD148B175E}" type="presParOf" srcId="{8CA0E43D-AF8E-8347-BD4F-536BA29DC7C8}" destId="{F625138D-9651-824D-9768-B3FB3CDCB236}" srcOrd="3" destOrd="0" presId="urn:microsoft.com/office/officeart/2005/8/layout/lProcess2"/>
    <dgm:cxn modelId="{7048C30C-1E26-7A48-AC32-77119B882392}" type="presParOf" srcId="{8CA0E43D-AF8E-8347-BD4F-536BA29DC7C8}" destId="{3A436975-8653-1047-AF28-14581BE111B2}" srcOrd="4" destOrd="0" presId="urn:microsoft.com/office/officeart/2005/8/layout/lProcess2"/>
    <dgm:cxn modelId="{69364EB0-B568-6E41-BDE2-0DC6FCCF0CB3}" type="presParOf" srcId="{3A436975-8653-1047-AF28-14581BE111B2}" destId="{D6045647-477F-2B4D-90F0-208A5B6D9124}" srcOrd="0" destOrd="0" presId="urn:microsoft.com/office/officeart/2005/8/layout/lProcess2"/>
    <dgm:cxn modelId="{872C2D26-335A-5645-83A9-2ADE1B1F18BC}" type="presParOf" srcId="{3A436975-8653-1047-AF28-14581BE111B2}" destId="{4D8A345C-314C-D74E-B4E0-2D51F6286D32}" srcOrd="1" destOrd="0" presId="urn:microsoft.com/office/officeart/2005/8/layout/lProcess2"/>
    <dgm:cxn modelId="{093171E8-D6F5-8B4B-B2AB-13CD3ADD86C7}" type="presParOf" srcId="{3A436975-8653-1047-AF28-14581BE111B2}" destId="{23C46AEE-0F00-4742-B274-AE6A498E470F}" srcOrd="2" destOrd="0" presId="urn:microsoft.com/office/officeart/2005/8/layout/lProcess2"/>
    <dgm:cxn modelId="{8C9A95EB-B739-BF47-98F7-6F5A1D1B0B50}" type="presParOf" srcId="{23C46AEE-0F00-4742-B274-AE6A498E470F}" destId="{46E6532C-450E-CD42-AC1B-AE15D12BCAAC}" srcOrd="0" destOrd="0" presId="urn:microsoft.com/office/officeart/2005/8/layout/lProcess2"/>
    <dgm:cxn modelId="{89FE9289-4E03-5844-AB9E-30C1162BAEDC}" type="presParOf" srcId="{46E6532C-450E-CD42-AC1B-AE15D12BCAAC}" destId="{2093453D-4C44-6A47-AB17-732A4080C5C7}" srcOrd="0" destOrd="0" presId="urn:microsoft.com/office/officeart/2005/8/layout/lProcess2"/>
    <dgm:cxn modelId="{6C63952E-CA3E-6848-BC4A-55A31C26DD30}" type="presParOf" srcId="{46E6532C-450E-CD42-AC1B-AE15D12BCAAC}" destId="{969BED49-C86A-EA44-B09E-7CC1CE94A1D4}" srcOrd="1" destOrd="0" presId="urn:microsoft.com/office/officeart/2005/8/layout/lProcess2"/>
    <dgm:cxn modelId="{32DDB813-6F30-F449-9BB0-71AE4DFA87EF}" type="presParOf" srcId="{46E6532C-450E-CD42-AC1B-AE15D12BCAAC}" destId="{3ED176CA-9A49-D54B-AF5A-9AE6AFECD559}"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5187B68-FD1E-4E6D-A548-824D35961661}" type="doc">
      <dgm:prSet loTypeId="urn:microsoft.com/office/officeart/2005/8/layout/radial3" loCatId="cycle" qsTypeId="urn:microsoft.com/office/officeart/2005/8/quickstyle/simple1" qsCatId="simple" csTypeId="urn:microsoft.com/office/officeart/2005/8/colors/accent2_1" csCatId="accent2" phldr="1"/>
      <dgm:spPr/>
      <dgm:t>
        <a:bodyPr/>
        <a:lstStyle/>
        <a:p>
          <a:endParaRPr lang="en-US"/>
        </a:p>
      </dgm:t>
    </dgm:pt>
    <dgm:pt modelId="{84DE4675-B40B-4D2C-888E-A9EB9FF20E41}">
      <dgm:prSet phldrT="[Text]" custT="1"/>
      <dgm:spPr/>
      <dgm:t>
        <a:bodyPr/>
        <a:lstStyle/>
        <a:p>
          <a:r>
            <a:rPr lang="en-US" sz="2000" b="1" dirty="0"/>
            <a:t>      </a:t>
          </a:r>
          <a:r>
            <a:rPr lang="ru-RU" sz="2000" b="1" dirty="0"/>
            <a:t> Руанда</a:t>
          </a:r>
          <a:r>
            <a:rPr lang="en-US" sz="2000" dirty="0"/>
            <a:t> </a:t>
          </a:r>
        </a:p>
      </dgm:t>
    </dgm:pt>
    <dgm:pt modelId="{EC2A4A85-F4F1-4A08-B670-D8E6E3B70269}" type="parTrans" cxnId="{FAB91705-A244-4CCA-9A92-05B04A74F6A3}">
      <dgm:prSet/>
      <dgm:spPr/>
      <dgm:t>
        <a:bodyPr/>
        <a:lstStyle/>
        <a:p>
          <a:endParaRPr lang="en-US" sz="1600"/>
        </a:p>
      </dgm:t>
    </dgm:pt>
    <dgm:pt modelId="{88D686CD-4B92-4AAF-8005-72036D07240F}" type="sibTrans" cxnId="{FAB91705-A244-4CCA-9A92-05B04A74F6A3}">
      <dgm:prSet/>
      <dgm:spPr/>
      <dgm:t>
        <a:bodyPr/>
        <a:lstStyle/>
        <a:p>
          <a:endParaRPr lang="en-US" sz="1600"/>
        </a:p>
      </dgm:t>
    </dgm:pt>
    <dgm:pt modelId="{67325B88-9A0E-4841-959C-605BD3BAC2AD}">
      <dgm:prSet phldrT="[Text]" custT="1"/>
      <dgm:spPr/>
      <dgm:t>
        <a:bodyPr/>
        <a:lstStyle/>
        <a:p>
          <a:r>
            <a:rPr lang="en-US" sz="1600" b="1" dirty="0"/>
            <a:t>2</a:t>
          </a:r>
          <a:r>
            <a:rPr lang="ru-RU" sz="1600" b="1" dirty="0"/>
            <a:t> место в мире по темпам </a:t>
          </a:r>
          <a:r>
            <a:rPr lang="en-US" sz="1600" b="1" dirty="0"/>
            <a:t>  </a:t>
          </a:r>
          <a:r>
            <a:rPr lang="ru-RU" sz="1600" b="1" dirty="0"/>
            <a:t>внедрения ИКТ </a:t>
          </a:r>
          <a:r>
            <a:rPr lang="en-US" sz="1600" b="1" dirty="0"/>
            <a:t> </a:t>
          </a:r>
        </a:p>
      </dgm:t>
    </dgm:pt>
    <dgm:pt modelId="{3A78354E-7EB4-4195-AE42-63486B8875D7}" type="parTrans" cxnId="{1F2E33A5-2EB4-47B4-938C-17FD2B0B3755}">
      <dgm:prSet custT="1"/>
      <dgm:spPr/>
      <dgm:t>
        <a:bodyPr/>
        <a:lstStyle/>
        <a:p>
          <a:endParaRPr lang="en-US" sz="1600"/>
        </a:p>
      </dgm:t>
    </dgm:pt>
    <dgm:pt modelId="{EA76C623-B51B-410A-A5BD-6929EB7B98CF}" type="sibTrans" cxnId="{1F2E33A5-2EB4-47B4-938C-17FD2B0B3755}">
      <dgm:prSet/>
      <dgm:spPr/>
      <dgm:t>
        <a:bodyPr/>
        <a:lstStyle/>
        <a:p>
          <a:endParaRPr lang="en-US" sz="1600"/>
        </a:p>
      </dgm:t>
    </dgm:pt>
    <dgm:pt modelId="{16F3EE13-8C6C-4EEC-9E91-8A788D7F68CF}">
      <dgm:prSet phldrT="[Text]" custT="1"/>
      <dgm:spPr/>
      <dgm:t>
        <a:bodyPr/>
        <a:lstStyle/>
        <a:p>
          <a:r>
            <a:rPr lang="en-US" sz="1600" b="1" dirty="0"/>
            <a:t>2</a:t>
          </a:r>
          <a:r>
            <a:rPr lang="ru-RU" sz="1600" b="1" dirty="0"/>
            <a:t> место по простоте и качеству </a:t>
          </a:r>
          <a:r>
            <a:rPr lang="ru-RU" sz="1600" b="1" dirty="0" err="1"/>
            <a:t>регулир-ия</a:t>
          </a:r>
          <a:r>
            <a:rPr lang="ru-RU" sz="1600" b="1" dirty="0"/>
            <a:t> бизнеса</a:t>
          </a:r>
          <a:endParaRPr lang="en-US" sz="1600" b="1" dirty="0"/>
        </a:p>
      </dgm:t>
    </dgm:pt>
    <dgm:pt modelId="{8BEABD32-D804-4904-BD74-1066545C26ED}" type="parTrans" cxnId="{4A60B7AB-5324-4C8D-89C5-1DEFF6BD3BC1}">
      <dgm:prSet custT="1"/>
      <dgm:spPr/>
      <dgm:t>
        <a:bodyPr/>
        <a:lstStyle/>
        <a:p>
          <a:endParaRPr lang="en-US" sz="1600"/>
        </a:p>
      </dgm:t>
    </dgm:pt>
    <dgm:pt modelId="{44BFB6EE-C2BC-400A-AEFB-DC4EB5BD5EF8}" type="sibTrans" cxnId="{4A60B7AB-5324-4C8D-89C5-1DEFF6BD3BC1}">
      <dgm:prSet/>
      <dgm:spPr/>
      <dgm:t>
        <a:bodyPr/>
        <a:lstStyle/>
        <a:p>
          <a:endParaRPr lang="en-US" sz="1600"/>
        </a:p>
      </dgm:t>
    </dgm:pt>
    <dgm:pt modelId="{DBFB2528-0E1A-43F3-B8C6-C30ADC1FFE8D}">
      <dgm:prSet phldrT="[Text]" custT="1"/>
      <dgm:spPr/>
      <dgm:t>
        <a:bodyPr/>
        <a:lstStyle/>
        <a:p>
          <a:r>
            <a:rPr lang="ru-RU" sz="1600" b="1" dirty="0"/>
            <a:t>3 место среди афр. стран, принимаю-</a:t>
          </a:r>
          <a:r>
            <a:rPr lang="ru-RU" sz="1600" b="1" dirty="0" err="1"/>
            <a:t>щих</a:t>
          </a:r>
          <a:r>
            <a:rPr lang="ru-RU" sz="1600" b="1" dirty="0"/>
            <a:t> МН конференции и др. мероприятия</a:t>
          </a:r>
          <a:endParaRPr lang="en-US" sz="1600" b="1" dirty="0"/>
        </a:p>
      </dgm:t>
    </dgm:pt>
    <dgm:pt modelId="{FDCF4F2F-BBDB-4E33-A9B9-03337533BE8B}" type="parTrans" cxnId="{4503A19F-6D6F-4A38-ABDF-F5787FAEF4A6}">
      <dgm:prSet custT="1"/>
      <dgm:spPr/>
      <dgm:t>
        <a:bodyPr/>
        <a:lstStyle/>
        <a:p>
          <a:endParaRPr lang="en-US" sz="1600"/>
        </a:p>
      </dgm:t>
    </dgm:pt>
    <dgm:pt modelId="{607641A3-B533-488D-979F-A14730A266D5}" type="sibTrans" cxnId="{4503A19F-6D6F-4A38-ABDF-F5787FAEF4A6}">
      <dgm:prSet/>
      <dgm:spPr/>
      <dgm:t>
        <a:bodyPr/>
        <a:lstStyle/>
        <a:p>
          <a:endParaRPr lang="en-US" sz="1600"/>
        </a:p>
      </dgm:t>
    </dgm:pt>
    <dgm:pt modelId="{966FD765-552C-441D-972D-C06831DD3271}">
      <dgm:prSet phldrT="[Text]" custT="1"/>
      <dgm:spPr/>
      <dgm:t>
        <a:bodyPr/>
        <a:lstStyle/>
        <a:p>
          <a:r>
            <a:rPr lang="en-US" sz="1600" b="1" dirty="0"/>
            <a:t>9</a:t>
          </a:r>
          <a:r>
            <a:rPr lang="ru-RU" sz="1600" b="1" dirty="0"/>
            <a:t> место в мире по обеспечению безопасности и </a:t>
          </a:r>
          <a:r>
            <a:rPr lang="ru-RU" sz="1600" b="1" dirty="0" err="1"/>
            <a:t>правопо</a:t>
          </a:r>
          <a:r>
            <a:rPr lang="ru-RU" sz="1600" b="1" dirty="0"/>
            <a:t>-рядка </a:t>
          </a:r>
          <a:r>
            <a:rPr lang="en-US" sz="1600" b="1" dirty="0"/>
            <a:t>(1</a:t>
          </a:r>
          <a:r>
            <a:rPr lang="ru-RU" sz="1600" b="1" dirty="0"/>
            <a:t> в Африке</a:t>
          </a:r>
          <a:r>
            <a:rPr lang="en-US" sz="1600" b="1" dirty="0"/>
            <a:t>) </a:t>
          </a:r>
        </a:p>
      </dgm:t>
    </dgm:pt>
    <dgm:pt modelId="{DAD9E948-BE5D-4994-8FFE-9C59979DAFE4}" type="parTrans" cxnId="{9CABDBDD-D950-4501-A22A-65E7883D12F4}">
      <dgm:prSet custT="1"/>
      <dgm:spPr/>
      <dgm:t>
        <a:bodyPr/>
        <a:lstStyle/>
        <a:p>
          <a:endParaRPr lang="en-US" sz="1600"/>
        </a:p>
      </dgm:t>
    </dgm:pt>
    <dgm:pt modelId="{0BDC50C2-2423-44FD-B2BB-B48D4D07FFE0}" type="sibTrans" cxnId="{9CABDBDD-D950-4501-A22A-65E7883D12F4}">
      <dgm:prSet/>
      <dgm:spPr/>
      <dgm:t>
        <a:bodyPr/>
        <a:lstStyle/>
        <a:p>
          <a:endParaRPr lang="en-US" sz="1600"/>
        </a:p>
      </dgm:t>
    </dgm:pt>
    <dgm:pt modelId="{C134387B-A1C3-40AF-9B4D-7AB5ACEDDB0E}">
      <dgm:prSet/>
      <dgm:spPr/>
      <dgm:t>
        <a:bodyPr/>
        <a:lstStyle/>
        <a:p>
          <a:endParaRPr lang="en-US"/>
        </a:p>
      </dgm:t>
    </dgm:pt>
    <dgm:pt modelId="{167C1A0F-3FEC-45DF-AAB9-2BBA069805DB}" type="parTrans" cxnId="{3494F947-66EE-4133-AB1D-8962C619888A}">
      <dgm:prSet/>
      <dgm:spPr/>
      <dgm:t>
        <a:bodyPr/>
        <a:lstStyle/>
        <a:p>
          <a:endParaRPr lang="en-US" sz="1600"/>
        </a:p>
      </dgm:t>
    </dgm:pt>
    <dgm:pt modelId="{0B07E79C-1318-45DE-A933-440EFB74C5EE}" type="sibTrans" cxnId="{3494F947-66EE-4133-AB1D-8962C619888A}">
      <dgm:prSet/>
      <dgm:spPr/>
      <dgm:t>
        <a:bodyPr/>
        <a:lstStyle/>
        <a:p>
          <a:endParaRPr lang="en-US" sz="1600"/>
        </a:p>
      </dgm:t>
    </dgm:pt>
    <dgm:pt modelId="{A41B3DAA-A0F9-4C4C-83B2-535CF5443A8E}">
      <dgm:prSet/>
      <dgm:spPr/>
      <dgm:t>
        <a:bodyPr/>
        <a:lstStyle/>
        <a:p>
          <a:endParaRPr lang="en-US" sz="1600"/>
        </a:p>
      </dgm:t>
    </dgm:pt>
    <dgm:pt modelId="{4A3698F5-7643-4FE7-8350-E19653019393}" type="parTrans" cxnId="{FAA8C4E6-C9F8-407D-AB67-D449428A292D}">
      <dgm:prSet/>
      <dgm:spPr/>
      <dgm:t>
        <a:bodyPr/>
        <a:lstStyle/>
        <a:p>
          <a:endParaRPr lang="en-US" sz="1600"/>
        </a:p>
      </dgm:t>
    </dgm:pt>
    <dgm:pt modelId="{9C705F89-EDF2-434E-818A-B07A6E0FC72B}" type="sibTrans" cxnId="{FAA8C4E6-C9F8-407D-AB67-D449428A292D}">
      <dgm:prSet/>
      <dgm:spPr/>
      <dgm:t>
        <a:bodyPr/>
        <a:lstStyle/>
        <a:p>
          <a:endParaRPr lang="en-US" sz="1600"/>
        </a:p>
      </dgm:t>
    </dgm:pt>
    <dgm:pt modelId="{9A667D21-CE98-47FD-B284-11B78C434F66}">
      <dgm:prSet phldrT="[Text]"/>
      <dgm:spPr/>
      <dgm:t>
        <a:bodyPr/>
        <a:lstStyle/>
        <a:p>
          <a:endParaRPr lang="en-US"/>
        </a:p>
      </dgm:t>
    </dgm:pt>
    <dgm:pt modelId="{C502D354-F204-4B6B-AE69-7F52FEB85405}" type="parTrans" cxnId="{158453E2-6F1E-44E4-A792-DC1CE4DF0220}">
      <dgm:prSet/>
      <dgm:spPr/>
      <dgm:t>
        <a:bodyPr/>
        <a:lstStyle/>
        <a:p>
          <a:endParaRPr lang="en-US" sz="1600"/>
        </a:p>
      </dgm:t>
    </dgm:pt>
    <dgm:pt modelId="{E48B417F-E59A-4514-B2C1-6BC656F30F33}" type="sibTrans" cxnId="{158453E2-6F1E-44E4-A792-DC1CE4DF0220}">
      <dgm:prSet/>
      <dgm:spPr/>
      <dgm:t>
        <a:bodyPr/>
        <a:lstStyle/>
        <a:p>
          <a:endParaRPr lang="en-US" sz="1600"/>
        </a:p>
      </dgm:t>
    </dgm:pt>
    <dgm:pt modelId="{D76FEA29-68D7-4361-A31F-96345786C9D6}">
      <dgm:prSet custT="1"/>
      <dgm:spPr/>
      <dgm:t>
        <a:bodyPr/>
        <a:lstStyle/>
        <a:p>
          <a:r>
            <a:rPr lang="ru-RU" sz="1600" b="1" dirty="0"/>
            <a:t>Прозрачная система управления: </a:t>
          </a:r>
          <a:r>
            <a:rPr lang="en-US" sz="1600" b="1" dirty="0"/>
            <a:t>9</a:t>
          </a:r>
          <a:r>
            <a:rPr lang="ru-RU" sz="1600" b="1" dirty="0"/>
            <a:t> место в мире </a:t>
          </a:r>
          <a:r>
            <a:rPr lang="en-US" sz="1600" b="1" dirty="0"/>
            <a:t>(1</a:t>
          </a:r>
          <a:r>
            <a:rPr lang="ru-RU" sz="1600" b="1" dirty="0"/>
            <a:t> в Африке</a:t>
          </a:r>
          <a:r>
            <a:rPr lang="en-US" sz="1600" b="1" dirty="0"/>
            <a:t>)</a:t>
          </a:r>
        </a:p>
      </dgm:t>
    </dgm:pt>
    <dgm:pt modelId="{9E98C517-E857-4235-B59E-56476857028A}" type="parTrans" cxnId="{298DA19C-3307-4928-9333-F0CB85EADBB1}">
      <dgm:prSet custT="1"/>
      <dgm:spPr/>
      <dgm:t>
        <a:bodyPr/>
        <a:lstStyle/>
        <a:p>
          <a:endParaRPr lang="en-US" sz="1600"/>
        </a:p>
      </dgm:t>
    </dgm:pt>
    <dgm:pt modelId="{02D4EBEA-E932-4A26-826D-22B1AE37B887}" type="sibTrans" cxnId="{298DA19C-3307-4928-9333-F0CB85EADBB1}">
      <dgm:prSet/>
      <dgm:spPr/>
      <dgm:t>
        <a:bodyPr/>
        <a:lstStyle/>
        <a:p>
          <a:endParaRPr lang="en-US" sz="1600"/>
        </a:p>
      </dgm:t>
    </dgm:pt>
    <dgm:pt modelId="{EB178D8C-8829-4B3C-AE98-D841C79F9F43}">
      <dgm:prSet custT="1"/>
      <dgm:spPr/>
      <dgm:t>
        <a:bodyPr/>
        <a:lstStyle/>
        <a:p>
          <a:r>
            <a:rPr lang="en-US" sz="1600" b="1" dirty="0"/>
            <a:t> 5</a:t>
          </a:r>
          <a:r>
            <a:rPr lang="ru-RU" sz="1600" b="1" dirty="0"/>
            <a:t> место в мире </a:t>
          </a:r>
          <a:r>
            <a:rPr lang="ru-RU" sz="1400" b="1" dirty="0"/>
            <a:t>по обеспечению заботы о женщинах</a:t>
          </a:r>
          <a:r>
            <a:rPr lang="en-US" sz="1600" b="1" dirty="0"/>
            <a:t> (</a:t>
          </a:r>
          <a:r>
            <a:rPr lang="ru-RU" sz="1600" b="1" dirty="0"/>
            <a:t>1-ое в Африке)</a:t>
          </a:r>
          <a:endParaRPr lang="en-US" sz="1600" b="1" dirty="0"/>
        </a:p>
      </dgm:t>
    </dgm:pt>
    <dgm:pt modelId="{371685E8-8DF9-4784-9B8E-605CA00003BF}" type="parTrans" cxnId="{65285BEF-8C3C-4B97-B256-DAEA3E795410}">
      <dgm:prSet custT="1"/>
      <dgm:spPr/>
      <dgm:t>
        <a:bodyPr/>
        <a:lstStyle/>
        <a:p>
          <a:endParaRPr lang="en-US" sz="1600"/>
        </a:p>
      </dgm:t>
    </dgm:pt>
    <dgm:pt modelId="{CB87CE5F-FCFF-4C91-82CF-B45459D363A1}" type="sibTrans" cxnId="{65285BEF-8C3C-4B97-B256-DAEA3E795410}">
      <dgm:prSet/>
      <dgm:spPr/>
      <dgm:t>
        <a:bodyPr/>
        <a:lstStyle/>
        <a:p>
          <a:endParaRPr lang="en-US" sz="1600"/>
        </a:p>
      </dgm:t>
    </dgm:pt>
    <dgm:pt modelId="{BEC8DD84-C128-4EB3-96FC-E1E0B4E0ED41}">
      <dgm:prSet custT="1"/>
      <dgm:spPr/>
      <dgm:t>
        <a:bodyPr/>
        <a:lstStyle/>
        <a:p>
          <a:r>
            <a:rPr lang="en-US" sz="1600" b="1" dirty="0"/>
            <a:t>3</a:t>
          </a:r>
          <a:r>
            <a:rPr lang="ru-RU" sz="1600" b="1" dirty="0"/>
            <a:t>-я среди самых конкурентоспособных экономик в Африке </a:t>
          </a:r>
          <a:endParaRPr lang="en-US" sz="1600" b="1" dirty="0"/>
        </a:p>
      </dgm:t>
    </dgm:pt>
    <dgm:pt modelId="{783951FB-09DE-4AD9-8E27-BF16B9A64F0D}" type="parTrans" cxnId="{72D329BD-971D-42FE-8291-EBB71A475B50}">
      <dgm:prSet/>
      <dgm:spPr/>
      <dgm:t>
        <a:bodyPr/>
        <a:lstStyle/>
        <a:p>
          <a:endParaRPr lang="en-US"/>
        </a:p>
      </dgm:t>
    </dgm:pt>
    <dgm:pt modelId="{C0B62B39-8B37-454E-AE63-AE198E9BF94A}" type="sibTrans" cxnId="{72D329BD-971D-42FE-8291-EBB71A475B50}">
      <dgm:prSet/>
      <dgm:spPr/>
      <dgm:t>
        <a:bodyPr/>
        <a:lstStyle/>
        <a:p>
          <a:endParaRPr lang="en-US"/>
        </a:p>
      </dgm:t>
    </dgm:pt>
    <dgm:pt modelId="{E4ED04BE-F2A4-489C-B302-E56DD67CF88F}" type="pres">
      <dgm:prSet presAssocID="{F5187B68-FD1E-4E6D-A548-824D35961661}" presName="composite" presStyleCnt="0">
        <dgm:presLayoutVars>
          <dgm:chMax val="1"/>
          <dgm:dir/>
          <dgm:resizeHandles val="exact"/>
        </dgm:presLayoutVars>
      </dgm:prSet>
      <dgm:spPr/>
    </dgm:pt>
    <dgm:pt modelId="{019E6E45-46D2-431D-A6FF-1D7BEE46A50F}" type="pres">
      <dgm:prSet presAssocID="{F5187B68-FD1E-4E6D-A548-824D35961661}" presName="radial" presStyleCnt="0">
        <dgm:presLayoutVars>
          <dgm:animLvl val="ctr"/>
        </dgm:presLayoutVars>
      </dgm:prSet>
      <dgm:spPr/>
    </dgm:pt>
    <dgm:pt modelId="{97A6B7EB-8577-4395-BF0A-84648F5B3440}" type="pres">
      <dgm:prSet presAssocID="{84DE4675-B40B-4D2C-888E-A9EB9FF20E41}" presName="centerShape" presStyleLbl="vennNode1" presStyleIdx="0" presStyleCnt="8" custScaleX="81116" custScaleY="82296" custLinFactNeighborX="-2208" custLinFactNeighborY="-2444"/>
      <dgm:spPr/>
    </dgm:pt>
    <dgm:pt modelId="{2155B6AB-0C27-4C36-9C2A-05FE3AAF200B}" type="pres">
      <dgm:prSet presAssocID="{67325B88-9A0E-4841-959C-605BD3BAC2AD}" presName="node" presStyleLbl="vennNode1" presStyleIdx="1" presStyleCnt="8" custScaleX="96357" custScaleY="93512" custRadScaleRad="95012" custRadScaleInc="-2291">
        <dgm:presLayoutVars>
          <dgm:bulletEnabled val="1"/>
        </dgm:presLayoutVars>
      </dgm:prSet>
      <dgm:spPr/>
    </dgm:pt>
    <dgm:pt modelId="{83BAE68C-A225-4A5E-89D1-BD95E95D275E}" type="pres">
      <dgm:prSet presAssocID="{16F3EE13-8C6C-4EEC-9E91-8A788D7F68CF}" presName="node" presStyleLbl="vennNode1" presStyleIdx="2" presStyleCnt="8" custScaleX="108412" custScaleY="107984" custRadScaleRad="103329" custRadScaleInc="1471">
        <dgm:presLayoutVars>
          <dgm:bulletEnabled val="1"/>
        </dgm:presLayoutVars>
      </dgm:prSet>
      <dgm:spPr/>
    </dgm:pt>
    <dgm:pt modelId="{6C064169-8BDA-4BF7-8C47-9BC5682F8B3E}" type="pres">
      <dgm:prSet presAssocID="{BEC8DD84-C128-4EB3-96FC-E1E0B4E0ED41}" presName="node" presStyleLbl="vennNode1" presStyleIdx="3" presStyleCnt="8" custRadScaleRad="92680" custRadScaleInc="-3363">
        <dgm:presLayoutVars>
          <dgm:bulletEnabled val="1"/>
        </dgm:presLayoutVars>
      </dgm:prSet>
      <dgm:spPr/>
    </dgm:pt>
    <dgm:pt modelId="{EF751E09-FDB8-4F79-A12C-A1CC7E105BB5}" type="pres">
      <dgm:prSet presAssocID="{DBFB2528-0E1A-43F3-B8C6-C30ADC1FFE8D}" presName="node" presStyleLbl="vennNode1" presStyleIdx="4" presStyleCnt="8" custScaleX="121986" custScaleY="119108" custRadScaleRad="92124" custRadScaleInc="896">
        <dgm:presLayoutVars>
          <dgm:bulletEnabled val="1"/>
        </dgm:presLayoutVars>
      </dgm:prSet>
      <dgm:spPr/>
    </dgm:pt>
    <dgm:pt modelId="{056DAFD3-9627-4745-8147-927319AB910D}" type="pres">
      <dgm:prSet presAssocID="{966FD765-552C-441D-972D-C06831DD3271}" presName="node" presStyleLbl="vennNode1" presStyleIdx="5" presStyleCnt="8" custScaleX="113489" custScaleY="112526" custRadScaleRad="93668" custRadScaleInc="3171">
        <dgm:presLayoutVars>
          <dgm:bulletEnabled val="1"/>
        </dgm:presLayoutVars>
      </dgm:prSet>
      <dgm:spPr/>
    </dgm:pt>
    <dgm:pt modelId="{542B0AAC-3B93-4649-8623-ADE56A5B3A0E}" type="pres">
      <dgm:prSet presAssocID="{EB178D8C-8829-4B3C-AE98-D841C79F9F43}" presName="node" presStyleLbl="vennNode1" presStyleIdx="6" presStyleCnt="8" custScaleX="110806" custScaleY="112534" custRadScaleRad="102070" custRadScaleInc="2155">
        <dgm:presLayoutVars>
          <dgm:bulletEnabled val="1"/>
        </dgm:presLayoutVars>
      </dgm:prSet>
      <dgm:spPr/>
    </dgm:pt>
    <dgm:pt modelId="{8BDB5216-1B71-4C97-AFC8-B1D41C83BE73}" type="pres">
      <dgm:prSet presAssocID="{D76FEA29-68D7-4361-A31F-96345786C9D6}" presName="node" presStyleLbl="vennNode1" presStyleIdx="7" presStyleCnt="8" custScaleX="115439" custScaleY="112560" custRadScaleRad="108835" custRadScaleInc="-1647">
        <dgm:presLayoutVars>
          <dgm:bulletEnabled val="1"/>
        </dgm:presLayoutVars>
      </dgm:prSet>
      <dgm:spPr/>
    </dgm:pt>
  </dgm:ptLst>
  <dgm:cxnLst>
    <dgm:cxn modelId="{FAB91705-A244-4CCA-9A92-05B04A74F6A3}" srcId="{F5187B68-FD1E-4E6D-A548-824D35961661}" destId="{84DE4675-B40B-4D2C-888E-A9EB9FF20E41}" srcOrd="0" destOrd="0" parTransId="{EC2A4A85-F4F1-4A08-B670-D8E6E3B70269}" sibTransId="{88D686CD-4B92-4AAF-8005-72036D07240F}"/>
    <dgm:cxn modelId="{915C1E08-2B50-4EFE-9162-2CB7ECDC441A}" type="presOf" srcId="{67325B88-9A0E-4841-959C-605BD3BAC2AD}" destId="{2155B6AB-0C27-4C36-9C2A-05FE3AAF200B}" srcOrd="0" destOrd="0" presId="urn:microsoft.com/office/officeart/2005/8/layout/radial3"/>
    <dgm:cxn modelId="{E4169622-1286-4A1E-97A2-95B1AFF23B6E}" type="presOf" srcId="{D76FEA29-68D7-4361-A31F-96345786C9D6}" destId="{8BDB5216-1B71-4C97-AFC8-B1D41C83BE73}" srcOrd="0" destOrd="0" presId="urn:microsoft.com/office/officeart/2005/8/layout/radial3"/>
    <dgm:cxn modelId="{F948E132-52FB-47B4-96AA-8BAB396A44A5}" type="presOf" srcId="{966FD765-552C-441D-972D-C06831DD3271}" destId="{056DAFD3-9627-4745-8147-927319AB910D}" srcOrd="0" destOrd="0" presId="urn:microsoft.com/office/officeart/2005/8/layout/radial3"/>
    <dgm:cxn modelId="{757E4840-E2F1-4FC0-962F-BF487893C466}" type="presOf" srcId="{EB178D8C-8829-4B3C-AE98-D841C79F9F43}" destId="{542B0AAC-3B93-4649-8623-ADE56A5B3A0E}" srcOrd="0" destOrd="0" presId="urn:microsoft.com/office/officeart/2005/8/layout/radial3"/>
    <dgm:cxn modelId="{CE112046-247D-4627-99D0-E0C951DD695E}" type="presOf" srcId="{DBFB2528-0E1A-43F3-B8C6-C30ADC1FFE8D}" destId="{EF751E09-FDB8-4F79-A12C-A1CC7E105BB5}" srcOrd="0" destOrd="0" presId="urn:microsoft.com/office/officeart/2005/8/layout/radial3"/>
    <dgm:cxn modelId="{3494F947-66EE-4133-AB1D-8962C619888A}" srcId="{F5187B68-FD1E-4E6D-A548-824D35961661}" destId="{C134387B-A1C3-40AF-9B4D-7AB5ACEDDB0E}" srcOrd="1" destOrd="0" parTransId="{167C1A0F-3FEC-45DF-AAB9-2BBA069805DB}" sibTransId="{0B07E79C-1318-45DE-A933-440EFB74C5EE}"/>
    <dgm:cxn modelId="{D8066C70-1EB6-4EF3-A643-97CE9769C4D3}" type="presOf" srcId="{16F3EE13-8C6C-4EEC-9E91-8A788D7F68CF}" destId="{83BAE68C-A225-4A5E-89D1-BD95E95D275E}" srcOrd="0" destOrd="0" presId="urn:microsoft.com/office/officeart/2005/8/layout/radial3"/>
    <dgm:cxn modelId="{298DA19C-3307-4928-9333-F0CB85EADBB1}" srcId="{84DE4675-B40B-4D2C-888E-A9EB9FF20E41}" destId="{D76FEA29-68D7-4361-A31F-96345786C9D6}" srcOrd="6" destOrd="0" parTransId="{9E98C517-E857-4235-B59E-56476857028A}" sibTransId="{02D4EBEA-E932-4A26-826D-22B1AE37B887}"/>
    <dgm:cxn modelId="{03F9F19E-ACF2-418C-95D5-1658E80F0220}" type="presOf" srcId="{84DE4675-B40B-4D2C-888E-A9EB9FF20E41}" destId="{97A6B7EB-8577-4395-BF0A-84648F5B3440}" srcOrd="0" destOrd="0" presId="urn:microsoft.com/office/officeart/2005/8/layout/radial3"/>
    <dgm:cxn modelId="{4503A19F-6D6F-4A38-ABDF-F5787FAEF4A6}" srcId="{84DE4675-B40B-4D2C-888E-A9EB9FF20E41}" destId="{DBFB2528-0E1A-43F3-B8C6-C30ADC1FFE8D}" srcOrd="3" destOrd="0" parTransId="{FDCF4F2F-BBDB-4E33-A9B9-03337533BE8B}" sibTransId="{607641A3-B533-488D-979F-A14730A266D5}"/>
    <dgm:cxn modelId="{1F2E33A5-2EB4-47B4-938C-17FD2B0B3755}" srcId="{84DE4675-B40B-4D2C-888E-A9EB9FF20E41}" destId="{67325B88-9A0E-4841-959C-605BD3BAC2AD}" srcOrd="0" destOrd="0" parTransId="{3A78354E-7EB4-4195-AE42-63486B8875D7}" sibTransId="{EA76C623-B51B-410A-A5BD-6929EB7B98CF}"/>
    <dgm:cxn modelId="{4A60B7AB-5324-4C8D-89C5-1DEFF6BD3BC1}" srcId="{84DE4675-B40B-4D2C-888E-A9EB9FF20E41}" destId="{16F3EE13-8C6C-4EEC-9E91-8A788D7F68CF}" srcOrd="1" destOrd="0" parTransId="{8BEABD32-D804-4904-BD74-1066545C26ED}" sibTransId="{44BFB6EE-C2BC-400A-AEFB-DC4EB5BD5EF8}"/>
    <dgm:cxn modelId="{72D329BD-971D-42FE-8291-EBB71A475B50}" srcId="{84DE4675-B40B-4D2C-888E-A9EB9FF20E41}" destId="{BEC8DD84-C128-4EB3-96FC-E1E0B4E0ED41}" srcOrd="2" destOrd="0" parTransId="{783951FB-09DE-4AD9-8E27-BF16B9A64F0D}" sibTransId="{C0B62B39-8B37-454E-AE63-AE198E9BF94A}"/>
    <dgm:cxn modelId="{9CABDBDD-D950-4501-A22A-65E7883D12F4}" srcId="{84DE4675-B40B-4D2C-888E-A9EB9FF20E41}" destId="{966FD765-552C-441D-972D-C06831DD3271}" srcOrd="4" destOrd="0" parTransId="{DAD9E948-BE5D-4994-8FFE-9C59979DAFE4}" sibTransId="{0BDC50C2-2423-44FD-B2BB-B48D4D07FFE0}"/>
    <dgm:cxn modelId="{158453E2-6F1E-44E4-A792-DC1CE4DF0220}" srcId="{F5187B68-FD1E-4E6D-A548-824D35961661}" destId="{9A667D21-CE98-47FD-B284-11B78C434F66}" srcOrd="3" destOrd="0" parTransId="{C502D354-F204-4B6B-AE69-7F52FEB85405}" sibTransId="{E48B417F-E59A-4514-B2C1-6BC656F30F33}"/>
    <dgm:cxn modelId="{FAA8C4E6-C9F8-407D-AB67-D449428A292D}" srcId="{F5187B68-FD1E-4E6D-A548-824D35961661}" destId="{A41B3DAA-A0F9-4C4C-83B2-535CF5443A8E}" srcOrd="2" destOrd="0" parTransId="{4A3698F5-7643-4FE7-8350-E19653019393}" sibTransId="{9C705F89-EDF2-434E-818A-B07A6E0FC72B}"/>
    <dgm:cxn modelId="{E8B79FEE-FD6C-40C8-BA2E-42582426D701}" type="presOf" srcId="{BEC8DD84-C128-4EB3-96FC-E1E0B4E0ED41}" destId="{6C064169-8BDA-4BF7-8C47-9BC5682F8B3E}" srcOrd="0" destOrd="0" presId="urn:microsoft.com/office/officeart/2005/8/layout/radial3"/>
    <dgm:cxn modelId="{65285BEF-8C3C-4B97-B256-DAEA3E795410}" srcId="{84DE4675-B40B-4D2C-888E-A9EB9FF20E41}" destId="{EB178D8C-8829-4B3C-AE98-D841C79F9F43}" srcOrd="5" destOrd="0" parTransId="{371685E8-8DF9-4784-9B8E-605CA00003BF}" sibTransId="{CB87CE5F-FCFF-4C91-82CF-B45459D363A1}"/>
    <dgm:cxn modelId="{7BEE99F1-920B-4AA6-B6E5-8BF5BCEB565A}" type="presOf" srcId="{F5187B68-FD1E-4E6D-A548-824D35961661}" destId="{E4ED04BE-F2A4-489C-B302-E56DD67CF88F}" srcOrd="0" destOrd="0" presId="urn:microsoft.com/office/officeart/2005/8/layout/radial3"/>
    <dgm:cxn modelId="{41AF9C1E-9D47-40A6-ADFE-AB8DE82FDF1D}" type="presParOf" srcId="{E4ED04BE-F2A4-489C-B302-E56DD67CF88F}" destId="{019E6E45-46D2-431D-A6FF-1D7BEE46A50F}" srcOrd="0" destOrd="0" presId="urn:microsoft.com/office/officeart/2005/8/layout/radial3"/>
    <dgm:cxn modelId="{2F99F6A7-8343-467A-911A-44D59F984811}" type="presParOf" srcId="{019E6E45-46D2-431D-A6FF-1D7BEE46A50F}" destId="{97A6B7EB-8577-4395-BF0A-84648F5B3440}" srcOrd="0" destOrd="0" presId="urn:microsoft.com/office/officeart/2005/8/layout/radial3"/>
    <dgm:cxn modelId="{6AE38CA2-E01F-4266-9D07-0C2DBC9FD008}" type="presParOf" srcId="{019E6E45-46D2-431D-A6FF-1D7BEE46A50F}" destId="{2155B6AB-0C27-4C36-9C2A-05FE3AAF200B}" srcOrd="1" destOrd="0" presId="urn:microsoft.com/office/officeart/2005/8/layout/radial3"/>
    <dgm:cxn modelId="{21CD1F28-B3CD-4971-9CA2-29FC1FB408D5}" type="presParOf" srcId="{019E6E45-46D2-431D-A6FF-1D7BEE46A50F}" destId="{83BAE68C-A225-4A5E-89D1-BD95E95D275E}" srcOrd="2" destOrd="0" presId="urn:microsoft.com/office/officeart/2005/8/layout/radial3"/>
    <dgm:cxn modelId="{EA07AC39-6F8E-4B68-B807-60E22A404F54}" type="presParOf" srcId="{019E6E45-46D2-431D-A6FF-1D7BEE46A50F}" destId="{6C064169-8BDA-4BF7-8C47-9BC5682F8B3E}" srcOrd="3" destOrd="0" presId="urn:microsoft.com/office/officeart/2005/8/layout/radial3"/>
    <dgm:cxn modelId="{24C2AB25-5993-42EC-B54E-92549D42F36A}" type="presParOf" srcId="{019E6E45-46D2-431D-A6FF-1D7BEE46A50F}" destId="{EF751E09-FDB8-4F79-A12C-A1CC7E105BB5}" srcOrd="4" destOrd="0" presId="urn:microsoft.com/office/officeart/2005/8/layout/radial3"/>
    <dgm:cxn modelId="{E6DA473E-D0A1-480B-BB22-706405692ED9}" type="presParOf" srcId="{019E6E45-46D2-431D-A6FF-1D7BEE46A50F}" destId="{056DAFD3-9627-4745-8147-927319AB910D}" srcOrd="5" destOrd="0" presId="urn:microsoft.com/office/officeart/2005/8/layout/radial3"/>
    <dgm:cxn modelId="{C3764070-ACA7-4ECD-AB18-8825085E14AD}" type="presParOf" srcId="{019E6E45-46D2-431D-A6FF-1D7BEE46A50F}" destId="{542B0AAC-3B93-4649-8623-ADE56A5B3A0E}" srcOrd="6" destOrd="0" presId="urn:microsoft.com/office/officeart/2005/8/layout/radial3"/>
    <dgm:cxn modelId="{FAF8DB55-1517-41A1-8FA5-64245CC7E5DB}" type="presParOf" srcId="{019E6E45-46D2-431D-A6FF-1D7BEE46A50F}" destId="{8BDB5216-1B71-4C97-AFC8-B1D41C83BE73}" srcOrd="7"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B7865F-29EF-EF4A-9106-377FF6327EA6}">
      <dsp:nvSpPr>
        <dsp:cNvPr id="0" name=""/>
        <dsp:cNvSpPr/>
      </dsp:nvSpPr>
      <dsp:spPr>
        <a:xfrm>
          <a:off x="805" y="0"/>
          <a:ext cx="2078437" cy="525416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ru-RU" sz="2000" kern="1200" dirty="0" err="1"/>
            <a:t>Позитв</a:t>
          </a:r>
          <a:r>
            <a:rPr lang="ru-RU" sz="2000" kern="1200" dirty="0"/>
            <a:t>. факторы и характеристики экономического преобразования</a:t>
          </a:r>
          <a:endParaRPr lang="en-US" sz="2000" kern="1200" dirty="0"/>
        </a:p>
      </dsp:txBody>
      <dsp:txXfrm>
        <a:off x="805" y="0"/>
        <a:ext cx="2078437" cy="1576251"/>
      </dsp:txXfrm>
    </dsp:sp>
    <dsp:sp modelId="{CBFCFC6F-0058-374A-BDE8-612A19138B7E}">
      <dsp:nvSpPr>
        <dsp:cNvPr id="0" name=""/>
        <dsp:cNvSpPr/>
      </dsp:nvSpPr>
      <dsp:spPr>
        <a:xfrm>
          <a:off x="208649" y="1577396"/>
          <a:ext cx="1662749" cy="524728"/>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ru-RU" sz="1400" kern="1200" dirty="0"/>
            <a:t>Стабильное </a:t>
          </a:r>
          <a:r>
            <a:rPr lang="ru-RU" sz="1400" kern="1200" dirty="0" err="1"/>
            <a:t>макроэкономичес</a:t>
          </a:r>
          <a:r>
            <a:rPr lang="ru-RU" sz="1400" kern="1200" dirty="0"/>
            <a:t>-кое развитие</a:t>
          </a:r>
          <a:endParaRPr lang="en-US" sz="1400" kern="1200" dirty="0"/>
        </a:p>
      </dsp:txBody>
      <dsp:txXfrm>
        <a:off x="224018" y="1592765"/>
        <a:ext cx="1632011" cy="493990"/>
      </dsp:txXfrm>
    </dsp:sp>
    <dsp:sp modelId="{6F6C5675-FA6A-DC4D-88DE-F5D264E323F6}">
      <dsp:nvSpPr>
        <dsp:cNvPr id="0" name=""/>
        <dsp:cNvSpPr/>
      </dsp:nvSpPr>
      <dsp:spPr>
        <a:xfrm>
          <a:off x="208649" y="2158181"/>
          <a:ext cx="1662749" cy="511585"/>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ru-RU" sz="1400" kern="1200" dirty="0"/>
            <a:t>Увеличение инвестиций и сбережений</a:t>
          </a:r>
          <a:endParaRPr lang="en-US" sz="1400" kern="1200" dirty="0"/>
        </a:p>
      </dsp:txBody>
      <dsp:txXfrm>
        <a:off x="223633" y="2173165"/>
        <a:ext cx="1632781" cy="481617"/>
      </dsp:txXfrm>
    </dsp:sp>
    <dsp:sp modelId="{7A18FC86-C03F-194B-B0FD-C94D935429BB}">
      <dsp:nvSpPr>
        <dsp:cNvPr id="0" name=""/>
        <dsp:cNvSpPr/>
      </dsp:nvSpPr>
      <dsp:spPr>
        <a:xfrm>
          <a:off x="258000" y="2808781"/>
          <a:ext cx="1662749" cy="538148"/>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ru-RU" sz="1400" kern="1200" dirty="0"/>
            <a:t>Рост МН интеграции</a:t>
          </a:r>
          <a:endParaRPr lang="en-US" sz="1400" kern="1200" dirty="0"/>
        </a:p>
      </dsp:txBody>
      <dsp:txXfrm>
        <a:off x="273762" y="2824543"/>
        <a:ext cx="1631225" cy="506624"/>
      </dsp:txXfrm>
    </dsp:sp>
    <dsp:sp modelId="{A8C2864F-2CC3-754E-B82E-CB6BB7260625}">
      <dsp:nvSpPr>
        <dsp:cNvPr id="0" name=""/>
        <dsp:cNvSpPr/>
      </dsp:nvSpPr>
      <dsp:spPr>
        <a:xfrm>
          <a:off x="258000" y="3404876"/>
          <a:ext cx="1662749" cy="829441"/>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ru-RU" sz="1400" kern="1200" dirty="0"/>
            <a:t>Ориентация на нужды рынка при распределении ресурсов </a:t>
          </a:r>
          <a:endParaRPr lang="en-US" sz="1400" kern="1200" dirty="0"/>
        </a:p>
      </dsp:txBody>
      <dsp:txXfrm>
        <a:off x="282293" y="3429169"/>
        <a:ext cx="1614163" cy="780855"/>
      </dsp:txXfrm>
    </dsp:sp>
    <dsp:sp modelId="{C4EFE89E-45B4-7E49-B87D-9AE3046A4A03}">
      <dsp:nvSpPr>
        <dsp:cNvPr id="0" name=""/>
        <dsp:cNvSpPr/>
      </dsp:nvSpPr>
      <dsp:spPr>
        <a:xfrm>
          <a:off x="258000" y="4326796"/>
          <a:ext cx="1662749" cy="36436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ru-RU" sz="1400" kern="1200" dirty="0"/>
            <a:t>Рост урбанизации</a:t>
          </a:r>
          <a:endParaRPr lang="en-US" sz="1400" kern="1200" dirty="0"/>
        </a:p>
      </dsp:txBody>
      <dsp:txXfrm>
        <a:off x="268672" y="4337468"/>
        <a:ext cx="1641405" cy="343022"/>
      </dsp:txXfrm>
    </dsp:sp>
    <dsp:sp modelId="{013F66F6-6D12-454A-8BE0-6A989BA2BA1E}">
      <dsp:nvSpPr>
        <dsp:cNvPr id="0" name=""/>
        <dsp:cNvSpPr/>
      </dsp:nvSpPr>
      <dsp:spPr>
        <a:xfrm>
          <a:off x="258000" y="4828419"/>
          <a:ext cx="1662749" cy="364366"/>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ru-RU" sz="1400" kern="1200" dirty="0"/>
            <a:t>Забота об экологии</a:t>
          </a:r>
          <a:endParaRPr lang="en-US" sz="1400" kern="1200" dirty="0"/>
        </a:p>
      </dsp:txBody>
      <dsp:txXfrm>
        <a:off x="268672" y="4839091"/>
        <a:ext cx="1641405" cy="343022"/>
      </dsp:txXfrm>
    </dsp:sp>
    <dsp:sp modelId="{5B86C8E4-298A-A247-BC49-D2E4A6434091}">
      <dsp:nvSpPr>
        <dsp:cNvPr id="0" name=""/>
        <dsp:cNvSpPr/>
      </dsp:nvSpPr>
      <dsp:spPr>
        <a:xfrm>
          <a:off x="2235125" y="0"/>
          <a:ext cx="2078437" cy="525416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ru-RU" sz="2000" kern="1200" dirty="0"/>
            <a:t>Факторы, негативно влияющие на эконом. преобразование </a:t>
          </a:r>
          <a:endParaRPr lang="en-US" sz="2000" kern="1200" dirty="0"/>
        </a:p>
      </dsp:txBody>
      <dsp:txXfrm>
        <a:off x="2235125" y="0"/>
        <a:ext cx="2078437" cy="1576251"/>
      </dsp:txXfrm>
    </dsp:sp>
    <dsp:sp modelId="{5242EAA6-A11E-A94E-9B08-72902435CDA6}">
      <dsp:nvSpPr>
        <dsp:cNvPr id="0" name=""/>
        <dsp:cNvSpPr/>
      </dsp:nvSpPr>
      <dsp:spPr>
        <a:xfrm>
          <a:off x="2312751" y="1517822"/>
          <a:ext cx="1923186" cy="346023"/>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ru-RU" sz="1400" kern="1200" dirty="0"/>
            <a:t>Неудовлетворённый спрос на энергию</a:t>
          </a:r>
          <a:endParaRPr lang="en-US" sz="1400" kern="1200" dirty="0"/>
        </a:p>
      </dsp:txBody>
      <dsp:txXfrm>
        <a:off x="2322886" y="1527957"/>
        <a:ext cx="1902916" cy="325753"/>
      </dsp:txXfrm>
    </dsp:sp>
    <dsp:sp modelId="{3CEE162B-BA21-7345-8EBD-B9EF4D9B1144}">
      <dsp:nvSpPr>
        <dsp:cNvPr id="0" name=""/>
        <dsp:cNvSpPr/>
      </dsp:nvSpPr>
      <dsp:spPr>
        <a:xfrm>
          <a:off x="2312751" y="1976588"/>
          <a:ext cx="1923186" cy="551322"/>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ru-RU" sz="1400" kern="1200" dirty="0"/>
            <a:t>Ограниченный и </a:t>
          </a:r>
          <a:r>
            <a:rPr lang="ru-RU" sz="1400" kern="1200" dirty="0" err="1"/>
            <a:t>переконцентрирован-ный</a:t>
          </a:r>
          <a:r>
            <a:rPr lang="ru-RU" sz="1400" kern="1200" dirty="0"/>
            <a:t> экспорт</a:t>
          </a:r>
          <a:endParaRPr lang="en-US" sz="1400" kern="1200" dirty="0"/>
        </a:p>
      </dsp:txBody>
      <dsp:txXfrm>
        <a:off x="2328899" y="1992736"/>
        <a:ext cx="1890890" cy="519026"/>
      </dsp:txXfrm>
    </dsp:sp>
    <dsp:sp modelId="{6F377B30-CF03-5149-B1DF-691F0F129C75}">
      <dsp:nvSpPr>
        <dsp:cNvPr id="0" name=""/>
        <dsp:cNvSpPr/>
      </dsp:nvSpPr>
      <dsp:spPr>
        <a:xfrm>
          <a:off x="2312751" y="2581145"/>
          <a:ext cx="1923186" cy="346023"/>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ru-RU" sz="1400" kern="1200" dirty="0"/>
            <a:t>Низкий уровень </a:t>
          </a:r>
          <a:r>
            <a:rPr lang="ru-RU" sz="1400" kern="1200" dirty="0" err="1"/>
            <a:t>иностран</a:t>
          </a:r>
          <a:r>
            <a:rPr lang="ru-RU" sz="1400" kern="1200" dirty="0"/>
            <a:t>. инвестиций</a:t>
          </a:r>
          <a:r>
            <a:rPr lang="en-US" sz="1400" kern="1200" dirty="0"/>
            <a:t> </a:t>
          </a:r>
        </a:p>
      </dsp:txBody>
      <dsp:txXfrm>
        <a:off x="2322886" y="2591280"/>
        <a:ext cx="1902916" cy="325753"/>
      </dsp:txXfrm>
    </dsp:sp>
    <dsp:sp modelId="{84D86CDA-62EF-8242-BFDC-3B4AEC354775}">
      <dsp:nvSpPr>
        <dsp:cNvPr id="0" name=""/>
        <dsp:cNvSpPr/>
      </dsp:nvSpPr>
      <dsp:spPr>
        <a:xfrm>
          <a:off x="2312751" y="2980403"/>
          <a:ext cx="1923186" cy="346023"/>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ru-RU" sz="1400" kern="1200" dirty="0"/>
            <a:t>Слабая логистическая система</a:t>
          </a:r>
          <a:endParaRPr lang="en-US" sz="1400" kern="1200" dirty="0"/>
        </a:p>
      </dsp:txBody>
      <dsp:txXfrm>
        <a:off x="2322886" y="2990538"/>
        <a:ext cx="1902916" cy="325753"/>
      </dsp:txXfrm>
    </dsp:sp>
    <dsp:sp modelId="{72B0A230-5BAC-D44B-8AFD-E5E1D7AFDF3E}">
      <dsp:nvSpPr>
        <dsp:cNvPr id="0" name=""/>
        <dsp:cNvSpPr/>
      </dsp:nvSpPr>
      <dsp:spPr>
        <a:xfrm>
          <a:off x="2312751" y="3379661"/>
          <a:ext cx="1923186" cy="1044897"/>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ru-RU" sz="1400" kern="1200" dirty="0"/>
            <a:t>Ограниченная доступность долгосрочных сбережений и кредитования </a:t>
          </a:r>
          <a:endParaRPr lang="en-US" sz="1400" kern="1200" dirty="0"/>
        </a:p>
      </dsp:txBody>
      <dsp:txXfrm>
        <a:off x="2343355" y="3410265"/>
        <a:ext cx="1861978" cy="983689"/>
      </dsp:txXfrm>
    </dsp:sp>
    <dsp:sp modelId="{D2598745-E012-5D4B-A3AF-9F3BD114FD6A}">
      <dsp:nvSpPr>
        <dsp:cNvPr id="0" name=""/>
        <dsp:cNvSpPr/>
      </dsp:nvSpPr>
      <dsp:spPr>
        <a:xfrm>
          <a:off x="2285116" y="4576972"/>
          <a:ext cx="1950821" cy="512588"/>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ts val="0"/>
            </a:spcAft>
            <a:buNone/>
          </a:pPr>
          <a:r>
            <a:rPr lang="ru-RU" sz="1500" kern="1200" dirty="0" err="1"/>
            <a:t>Урбанизационный</a:t>
          </a:r>
          <a:r>
            <a:rPr lang="ru-RU" sz="1500" kern="1200" dirty="0"/>
            <a:t> </a:t>
          </a:r>
        </a:p>
        <a:p>
          <a:pPr marL="0" lvl="0" indent="0" algn="ctr" defTabSz="666750">
            <a:lnSpc>
              <a:spcPct val="90000"/>
            </a:lnSpc>
            <a:spcBef>
              <a:spcPct val="0"/>
            </a:spcBef>
            <a:spcAft>
              <a:spcPts val="0"/>
            </a:spcAft>
            <a:buNone/>
          </a:pPr>
          <a:r>
            <a:rPr lang="ru-RU" sz="1500" kern="1200" dirty="0"/>
            <a:t>прессинг</a:t>
          </a:r>
          <a:endParaRPr lang="en-US" sz="1500" kern="1200" dirty="0"/>
        </a:p>
      </dsp:txBody>
      <dsp:txXfrm>
        <a:off x="2300129" y="4591985"/>
        <a:ext cx="1920795" cy="482562"/>
      </dsp:txXfrm>
    </dsp:sp>
    <dsp:sp modelId="{D6045647-477F-2B4D-90F0-208A5B6D9124}">
      <dsp:nvSpPr>
        <dsp:cNvPr id="0" name=""/>
        <dsp:cNvSpPr/>
      </dsp:nvSpPr>
      <dsp:spPr>
        <a:xfrm>
          <a:off x="4470251" y="0"/>
          <a:ext cx="2329491" cy="525416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ru-RU" sz="2000" kern="1200" dirty="0"/>
            <a:t>Стратегические приоритеты</a:t>
          </a:r>
          <a:endParaRPr lang="en-US" sz="2000" kern="1200" dirty="0"/>
        </a:p>
      </dsp:txBody>
      <dsp:txXfrm>
        <a:off x="4470251" y="0"/>
        <a:ext cx="2329491" cy="1576251"/>
      </dsp:txXfrm>
    </dsp:sp>
    <dsp:sp modelId="{2093453D-4C44-6A47-AB17-732A4080C5C7}">
      <dsp:nvSpPr>
        <dsp:cNvPr id="0" name=""/>
        <dsp:cNvSpPr/>
      </dsp:nvSpPr>
      <dsp:spPr>
        <a:xfrm>
          <a:off x="4539653" y="1373208"/>
          <a:ext cx="2161408" cy="1700934"/>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t" anchorCtr="0">
          <a:noAutofit/>
        </a:bodyPr>
        <a:lstStyle/>
        <a:p>
          <a:pPr marL="0" lvl="0" indent="0" algn="l" defTabSz="622300">
            <a:lnSpc>
              <a:spcPct val="90000"/>
            </a:lnSpc>
            <a:spcBef>
              <a:spcPct val="0"/>
            </a:spcBef>
            <a:spcAft>
              <a:spcPct val="35000"/>
            </a:spcAft>
            <a:buNone/>
          </a:pPr>
          <a:r>
            <a:rPr lang="en-US" sz="1400" b="1" kern="1200" dirty="0"/>
            <a:t>A. </a:t>
          </a:r>
          <a:r>
            <a:rPr lang="ru-RU" sz="1400" b="1" kern="1200" dirty="0"/>
            <a:t>Отрасли</a:t>
          </a:r>
          <a:r>
            <a:rPr lang="en-US" sz="1400" b="1" kern="1200" dirty="0"/>
            <a:t> </a:t>
          </a:r>
          <a:endParaRPr lang="en-US" sz="1400" kern="1200" dirty="0"/>
        </a:p>
        <a:p>
          <a:pPr marL="114300" lvl="1" indent="-114300" algn="l" defTabSz="622300">
            <a:lnSpc>
              <a:spcPct val="90000"/>
            </a:lnSpc>
            <a:spcBef>
              <a:spcPct val="0"/>
            </a:spcBef>
            <a:spcAft>
              <a:spcPct val="15000"/>
            </a:spcAft>
            <a:buChar char="•"/>
          </a:pPr>
          <a:r>
            <a:rPr kumimoji="0" lang="ru-RU" sz="1400" u="none" strike="noStrike" kern="1200" cap="none" normalizeH="0" baseline="0" dirty="0" err="1">
              <a:ln>
                <a:noFill/>
              </a:ln>
              <a:effectLst/>
            </a:rPr>
            <a:t>Высокопроизводитель-ное</a:t>
          </a:r>
          <a:r>
            <a:rPr kumimoji="0" lang="ru-RU" sz="1400" u="none" strike="noStrike" kern="1200" cap="none" normalizeH="0" baseline="0" dirty="0">
              <a:ln>
                <a:noFill/>
              </a:ln>
              <a:effectLst/>
            </a:rPr>
            <a:t>, ориентированное на рынок СХ</a:t>
          </a:r>
          <a:endParaRPr lang="en-US" sz="1400" kern="1200" dirty="0"/>
        </a:p>
        <a:p>
          <a:pPr marL="114300" lvl="1" indent="-114300" algn="l" defTabSz="622300">
            <a:lnSpc>
              <a:spcPct val="90000"/>
            </a:lnSpc>
            <a:spcBef>
              <a:spcPct val="0"/>
            </a:spcBef>
            <a:spcAft>
              <a:spcPct val="15000"/>
            </a:spcAft>
            <a:buChar char="•"/>
          </a:pPr>
          <a:r>
            <a:rPr lang="ru-RU" sz="1400" kern="1200" dirty="0"/>
            <a:t>Индустриализация и сфера услуг</a:t>
          </a:r>
          <a:endParaRPr lang="en-US" sz="1400" kern="1200" dirty="0"/>
        </a:p>
        <a:p>
          <a:pPr marL="114300" lvl="1" indent="-114300" algn="l" defTabSz="622300">
            <a:lnSpc>
              <a:spcPct val="90000"/>
            </a:lnSpc>
            <a:spcBef>
              <a:spcPct val="0"/>
            </a:spcBef>
            <a:spcAft>
              <a:spcPct val="15000"/>
            </a:spcAft>
            <a:buChar char="•"/>
          </a:pPr>
          <a:r>
            <a:rPr lang="ru-RU" sz="1400" kern="1200" dirty="0"/>
            <a:t>Экспортно-ориентир. отрасли</a:t>
          </a:r>
          <a:endParaRPr lang="en-US" sz="1400" kern="1200" dirty="0"/>
        </a:p>
        <a:p>
          <a:pPr marL="114300" lvl="1" indent="-114300" algn="l" defTabSz="622300">
            <a:lnSpc>
              <a:spcPct val="90000"/>
            </a:lnSpc>
            <a:spcBef>
              <a:spcPct val="0"/>
            </a:spcBef>
            <a:spcAft>
              <a:spcPct val="15000"/>
            </a:spcAft>
            <a:buChar char="•"/>
          </a:pPr>
          <a:endParaRPr lang="en-US" sz="1400" kern="1200" dirty="0"/>
        </a:p>
      </dsp:txBody>
      <dsp:txXfrm>
        <a:off x="4589472" y="1423027"/>
        <a:ext cx="2061770" cy="1601296"/>
      </dsp:txXfrm>
    </dsp:sp>
    <dsp:sp modelId="{3ED176CA-9A49-D54B-AF5A-9AE6AFECD559}">
      <dsp:nvSpPr>
        <dsp:cNvPr id="0" name=""/>
        <dsp:cNvSpPr/>
      </dsp:nvSpPr>
      <dsp:spPr>
        <a:xfrm>
          <a:off x="4590647" y="3376034"/>
          <a:ext cx="2209095" cy="1700934"/>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t" anchorCtr="0">
          <a:noAutofit/>
        </a:bodyPr>
        <a:lstStyle/>
        <a:p>
          <a:pPr marL="0" lvl="0" indent="0" algn="l" defTabSz="622300">
            <a:lnSpc>
              <a:spcPct val="90000"/>
            </a:lnSpc>
            <a:spcBef>
              <a:spcPct val="0"/>
            </a:spcBef>
            <a:spcAft>
              <a:spcPct val="35000"/>
            </a:spcAft>
            <a:buNone/>
          </a:pPr>
          <a:r>
            <a:rPr lang="en-US" sz="1400" b="1" kern="1200" dirty="0"/>
            <a:t>B. </a:t>
          </a:r>
          <a:r>
            <a:rPr lang="ru-RU" sz="1400" b="1" kern="1200" dirty="0"/>
            <a:t>Регионы</a:t>
          </a:r>
          <a:r>
            <a:rPr lang="en-US" sz="1400" b="1" kern="1200" dirty="0"/>
            <a:t> </a:t>
          </a:r>
          <a:endParaRPr lang="en-US" sz="1400" kern="1200" dirty="0"/>
        </a:p>
        <a:p>
          <a:pPr marL="114300" lvl="1" indent="-114300" algn="l" defTabSz="622300">
            <a:lnSpc>
              <a:spcPct val="90000"/>
            </a:lnSpc>
            <a:spcBef>
              <a:spcPct val="0"/>
            </a:spcBef>
            <a:spcAft>
              <a:spcPct val="15000"/>
            </a:spcAft>
            <a:buChar char="•"/>
          </a:pPr>
          <a:r>
            <a:rPr lang="ru-RU" sz="1400" kern="1200" dirty="0"/>
            <a:t>Внутренний</a:t>
          </a:r>
          <a:r>
            <a:rPr lang="en-US" sz="1400" kern="1200" dirty="0"/>
            <a:t> – </a:t>
          </a:r>
          <a:r>
            <a:rPr lang="ru-RU" sz="1400" kern="1200" dirty="0"/>
            <a:t>развитие ср. и малых городов</a:t>
          </a:r>
          <a:endParaRPr lang="en-US" sz="1400" kern="1200" dirty="0"/>
        </a:p>
        <a:p>
          <a:pPr marL="114300" lvl="1" indent="-114300" algn="l" defTabSz="622300">
            <a:lnSpc>
              <a:spcPct val="90000"/>
            </a:lnSpc>
            <a:spcBef>
              <a:spcPct val="0"/>
            </a:spcBef>
            <a:spcAft>
              <a:spcPct val="15000"/>
            </a:spcAft>
            <a:buChar char="•"/>
          </a:pPr>
          <a:r>
            <a:rPr lang="ru-RU" sz="1400" kern="1200" dirty="0"/>
            <a:t>Внешний (Африка)</a:t>
          </a:r>
          <a:r>
            <a:rPr lang="en-US" sz="1400" kern="1200" dirty="0"/>
            <a:t> – </a:t>
          </a:r>
          <a:r>
            <a:rPr lang="ru-RU" sz="1400" kern="1200" dirty="0"/>
            <a:t>страны ВАС,</a:t>
          </a:r>
          <a:r>
            <a:rPr lang="en-US" sz="1400" kern="1200" dirty="0"/>
            <a:t> </a:t>
          </a:r>
          <a:r>
            <a:rPr lang="ru-RU" sz="1400" kern="1200" dirty="0"/>
            <a:t>ДР Конго</a:t>
          </a:r>
          <a:r>
            <a:rPr lang="en-US" sz="1400" kern="1200" dirty="0"/>
            <a:t> </a:t>
          </a:r>
        </a:p>
        <a:p>
          <a:pPr marL="114300" lvl="1" indent="-114300" algn="l" defTabSz="622300">
            <a:lnSpc>
              <a:spcPct val="90000"/>
            </a:lnSpc>
            <a:spcBef>
              <a:spcPct val="0"/>
            </a:spcBef>
            <a:spcAft>
              <a:spcPct val="15000"/>
            </a:spcAft>
            <a:buChar char="•"/>
          </a:pPr>
          <a:r>
            <a:rPr lang="ru-RU" sz="1400" kern="1200" dirty="0" err="1"/>
            <a:t>Международн</a:t>
          </a:r>
          <a:r>
            <a:rPr lang="ru-RU" sz="1400" kern="1200" dirty="0"/>
            <a:t>.</a:t>
          </a:r>
          <a:r>
            <a:rPr lang="en-US" sz="1400" kern="1200" dirty="0"/>
            <a:t> – </a:t>
          </a:r>
          <a:r>
            <a:rPr lang="ru-RU" sz="1400" kern="1200" dirty="0" err="1"/>
            <a:t>Восточ</a:t>
          </a:r>
          <a:r>
            <a:rPr lang="ru-RU" sz="1400" kern="1200" dirty="0"/>
            <a:t>.</a:t>
          </a:r>
          <a:r>
            <a:rPr lang="en-US" sz="1400" kern="1200" dirty="0"/>
            <a:t> &amp; </a:t>
          </a:r>
          <a:r>
            <a:rPr lang="ru-RU" sz="1400" kern="1200" dirty="0" err="1"/>
            <a:t>Южн</a:t>
          </a:r>
          <a:r>
            <a:rPr lang="ru-RU" sz="1400" kern="1200" dirty="0"/>
            <a:t>. Азия, Европа</a:t>
          </a:r>
          <a:endParaRPr lang="en-US" sz="1400" kern="1200" dirty="0"/>
        </a:p>
      </dsp:txBody>
      <dsp:txXfrm>
        <a:off x="4640466" y="3425853"/>
        <a:ext cx="2109457" cy="16012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A6B7EB-8577-4395-BF0A-84648F5B3440}">
      <dsp:nvSpPr>
        <dsp:cNvPr id="0" name=""/>
        <dsp:cNvSpPr/>
      </dsp:nvSpPr>
      <dsp:spPr>
        <a:xfrm>
          <a:off x="2724105" y="1382914"/>
          <a:ext cx="2533616" cy="2570473"/>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dirty="0"/>
            <a:t>      </a:t>
          </a:r>
          <a:r>
            <a:rPr lang="ru-RU" sz="2000" b="1" kern="1200" dirty="0"/>
            <a:t> Руанда</a:t>
          </a:r>
          <a:r>
            <a:rPr lang="en-US" sz="2000" kern="1200" dirty="0"/>
            <a:t> </a:t>
          </a:r>
        </a:p>
      </dsp:txBody>
      <dsp:txXfrm>
        <a:off x="3095144" y="1759351"/>
        <a:ext cx="1791538" cy="1817599"/>
      </dsp:txXfrm>
    </dsp:sp>
    <dsp:sp modelId="{2155B6AB-0C27-4C36-9C2A-05FE3AAF200B}">
      <dsp:nvSpPr>
        <dsp:cNvPr id="0" name=""/>
        <dsp:cNvSpPr/>
      </dsp:nvSpPr>
      <dsp:spPr>
        <a:xfrm>
          <a:off x="3288612" y="104127"/>
          <a:ext cx="1504830" cy="1460399"/>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2</a:t>
          </a:r>
          <a:r>
            <a:rPr lang="ru-RU" sz="1600" b="1" kern="1200" dirty="0"/>
            <a:t> место в мире по темпам </a:t>
          </a:r>
          <a:r>
            <a:rPr lang="en-US" sz="1600" b="1" kern="1200" dirty="0"/>
            <a:t>  </a:t>
          </a:r>
          <a:r>
            <a:rPr lang="ru-RU" sz="1600" b="1" kern="1200" dirty="0"/>
            <a:t>внедрения ИКТ </a:t>
          </a:r>
          <a:r>
            <a:rPr lang="en-US" sz="1600" b="1" kern="1200" dirty="0"/>
            <a:t> </a:t>
          </a:r>
        </a:p>
      </dsp:txBody>
      <dsp:txXfrm>
        <a:off x="3508989" y="317997"/>
        <a:ext cx="1064076" cy="1032659"/>
      </dsp:txXfrm>
    </dsp:sp>
    <dsp:sp modelId="{83BAE68C-A225-4A5E-89D1-BD95E95D275E}">
      <dsp:nvSpPr>
        <dsp:cNvPr id="0" name=""/>
        <dsp:cNvSpPr/>
      </dsp:nvSpPr>
      <dsp:spPr>
        <a:xfrm>
          <a:off x="4895589" y="635060"/>
          <a:ext cx="1693096" cy="1686412"/>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2</a:t>
          </a:r>
          <a:r>
            <a:rPr lang="ru-RU" sz="1600" b="1" kern="1200" dirty="0"/>
            <a:t> место по простоте и качеству </a:t>
          </a:r>
          <a:r>
            <a:rPr lang="ru-RU" sz="1600" b="1" kern="1200" dirty="0" err="1"/>
            <a:t>регулир-ия</a:t>
          </a:r>
          <a:r>
            <a:rPr lang="ru-RU" sz="1600" b="1" kern="1200" dirty="0"/>
            <a:t> бизнеса</a:t>
          </a:r>
          <a:endParaRPr lang="en-US" sz="1600" b="1" kern="1200" dirty="0"/>
        </a:p>
      </dsp:txBody>
      <dsp:txXfrm>
        <a:off x="5143537" y="882029"/>
        <a:ext cx="1197200" cy="1192474"/>
      </dsp:txXfrm>
    </dsp:sp>
    <dsp:sp modelId="{6C064169-8BDA-4BF7-8C47-9BC5682F8B3E}">
      <dsp:nvSpPr>
        <dsp:cNvPr id="0" name=""/>
        <dsp:cNvSpPr/>
      </dsp:nvSpPr>
      <dsp:spPr>
        <a:xfrm>
          <a:off x="5150718" y="2350807"/>
          <a:ext cx="1561724" cy="1561724"/>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3</a:t>
          </a:r>
          <a:r>
            <a:rPr lang="ru-RU" sz="1600" b="1" kern="1200" dirty="0"/>
            <a:t>-я среди самых конкурентоспособных экономик в Африке </a:t>
          </a:r>
          <a:endParaRPr lang="en-US" sz="1600" b="1" kern="1200" dirty="0"/>
        </a:p>
      </dsp:txBody>
      <dsp:txXfrm>
        <a:off x="5379427" y="2579516"/>
        <a:ext cx="1104306" cy="1104306"/>
      </dsp:txXfrm>
    </dsp:sp>
    <dsp:sp modelId="{EF751E09-FDB8-4F79-A12C-A1CC7E105BB5}">
      <dsp:nvSpPr>
        <dsp:cNvPr id="0" name=""/>
        <dsp:cNvSpPr/>
      </dsp:nvSpPr>
      <dsp:spPr>
        <a:xfrm>
          <a:off x="3928139" y="3533310"/>
          <a:ext cx="1905085" cy="1860138"/>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ru-RU" sz="1600" b="1" kern="1200" dirty="0"/>
            <a:t>3 место среди афр. стран, принимаю-</a:t>
          </a:r>
          <a:r>
            <a:rPr lang="ru-RU" sz="1600" b="1" kern="1200" dirty="0" err="1"/>
            <a:t>щих</a:t>
          </a:r>
          <a:r>
            <a:rPr lang="ru-RU" sz="1600" b="1" kern="1200" dirty="0"/>
            <a:t> МН конференции и др. мероприятия</a:t>
          </a:r>
          <a:endParaRPr lang="en-US" sz="1600" b="1" kern="1200" dirty="0"/>
        </a:p>
      </dsp:txBody>
      <dsp:txXfrm>
        <a:off x="4207132" y="3805721"/>
        <a:ext cx="1347099" cy="1315316"/>
      </dsp:txXfrm>
    </dsp:sp>
    <dsp:sp modelId="{056DAFD3-9627-4745-8147-927319AB910D}">
      <dsp:nvSpPr>
        <dsp:cNvPr id="0" name=""/>
        <dsp:cNvSpPr/>
      </dsp:nvSpPr>
      <dsp:spPr>
        <a:xfrm>
          <a:off x="2318913" y="3582296"/>
          <a:ext cx="1772385" cy="1757345"/>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9</a:t>
          </a:r>
          <a:r>
            <a:rPr lang="ru-RU" sz="1600" b="1" kern="1200" dirty="0"/>
            <a:t> место в мире по обеспечению безопасности и </a:t>
          </a:r>
          <a:r>
            <a:rPr lang="ru-RU" sz="1600" b="1" kern="1200" dirty="0" err="1"/>
            <a:t>правопо</a:t>
          </a:r>
          <a:r>
            <a:rPr lang="ru-RU" sz="1600" b="1" kern="1200" dirty="0"/>
            <a:t>-рядка </a:t>
          </a:r>
          <a:r>
            <a:rPr lang="en-US" sz="1600" b="1" kern="1200" dirty="0"/>
            <a:t>(1</a:t>
          </a:r>
          <a:r>
            <a:rPr lang="ru-RU" sz="1600" b="1" kern="1200" dirty="0"/>
            <a:t> в Африке</a:t>
          </a:r>
          <a:r>
            <a:rPr lang="en-US" sz="1600" b="1" kern="1200" dirty="0"/>
            <a:t>) </a:t>
          </a:r>
        </a:p>
      </dsp:txBody>
      <dsp:txXfrm>
        <a:off x="2578473" y="3839653"/>
        <a:ext cx="1253265" cy="1242631"/>
      </dsp:txXfrm>
    </dsp:sp>
    <dsp:sp modelId="{542B0AAC-3B93-4649-8623-ADE56A5B3A0E}">
      <dsp:nvSpPr>
        <dsp:cNvPr id="0" name=""/>
        <dsp:cNvSpPr/>
      </dsp:nvSpPr>
      <dsp:spPr>
        <a:xfrm>
          <a:off x="1181708" y="2311894"/>
          <a:ext cx="1730484" cy="1757470"/>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 5</a:t>
          </a:r>
          <a:r>
            <a:rPr lang="ru-RU" sz="1600" b="1" kern="1200" dirty="0"/>
            <a:t> место в мире </a:t>
          </a:r>
          <a:r>
            <a:rPr lang="ru-RU" sz="1400" b="1" kern="1200" dirty="0"/>
            <a:t>по обеспечению заботы о женщинах</a:t>
          </a:r>
          <a:r>
            <a:rPr lang="en-US" sz="1600" b="1" kern="1200" dirty="0"/>
            <a:t> (</a:t>
          </a:r>
          <a:r>
            <a:rPr lang="ru-RU" sz="1600" b="1" kern="1200" dirty="0"/>
            <a:t>1-ое в Африке)</a:t>
          </a:r>
          <a:endParaRPr lang="en-US" sz="1600" b="1" kern="1200" dirty="0"/>
        </a:p>
      </dsp:txBody>
      <dsp:txXfrm>
        <a:off x="1435132" y="2569270"/>
        <a:ext cx="1223636" cy="1242718"/>
      </dsp:txXfrm>
    </dsp:sp>
    <dsp:sp modelId="{8BDB5216-1B71-4C97-AFC8-B1D41C83BE73}">
      <dsp:nvSpPr>
        <dsp:cNvPr id="0" name=""/>
        <dsp:cNvSpPr/>
      </dsp:nvSpPr>
      <dsp:spPr>
        <a:xfrm>
          <a:off x="1427352" y="533388"/>
          <a:ext cx="1802839" cy="1757876"/>
        </a:xfrm>
        <a:prstGeom prst="ellipse">
          <a:avLst/>
        </a:prstGeom>
        <a:solidFill>
          <a:schemeClr val="lt1">
            <a:alpha val="5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ru-RU" sz="1600" b="1" kern="1200" dirty="0"/>
            <a:t>Прозрачная система управления: </a:t>
          </a:r>
          <a:r>
            <a:rPr lang="en-US" sz="1600" b="1" kern="1200" dirty="0"/>
            <a:t>9</a:t>
          </a:r>
          <a:r>
            <a:rPr lang="ru-RU" sz="1600" b="1" kern="1200" dirty="0"/>
            <a:t> место в мире </a:t>
          </a:r>
          <a:r>
            <a:rPr lang="en-US" sz="1600" b="1" kern="1200" dirty="0"/>
            <a:t>(1</a:t>
          </a:r>
          <a:r>
            <a:rPr lang="ru-RU" sz="1600" b="1" kern="1200" dirty="0"/>
            <a:t> в Африке</a:t>
          </a:r>
          <a:r>
            <a:rPr lang="en-US" sz="1600" b="1" kern="1200" dirty="0"/>
            <a:t>)</a:t>
          </a:r>
        </a:p>
      </dsp:txBody>
      <dsp:txXfrm>
        <a:off x="1691372" y="790823"/>
        <a:ext cx="1274799" cy="124300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5EAD73B-6E59-E840-9589-9055ED054C21}" type="datetimeFigureOut">
              <a:rPr lang="en-US" smtClean="0"/>
              <a:t>10/22/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2321F68-C0C6-704A-B936-57C4978B2934}" type="slidenum">
              <a:rPr lang="en-US" smtClean="0"/>
              <a:t>‹#›</a:t>
            </a:fld>
            <a:endParaRPr lang="en-US"/>
          </a:p>
        </p:txBody>
      </p:sp>
    </p:spTree>
    <p:extLst>
      <p:ext uri="{BB962C8B-B14F-4D97-AF65-F5344CB8AC3E}">
        <p14:creationId xmlns:p14="http://schemas.microsoft.com/office/powerpoint/2010/main" val="59144193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0A9A53A-7A3E-5549-9CFA-E93228BA2603}" type="datetimeFigureOut">
              <a:rPr lang="en-US" smtClean="0"/>
              <a:t>10/22/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FE45557-73BB-4248-AA7F-CD4EE5BE3E0A}" type="slidenum">
              <a:rPr lang="en-US" smtClean="0"/>
              <a:t>‹#›</a:t>
            </a:fld>
            <a:endParaRPr lang="en-US"/>
          </a:p>
        </p:txBody>
      </p:sp>
    </p:spTree>
    <p:extLst>
      <p:ext uri="{BB962C8B-B14F-4D97-AF65-F5344CB8AC3E}">
        <p14:creationId xmlns:p14="http://schemas.microsoft.com/office/powerpoint/2010/main" val="310550639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330325" y="1123950"/>
            <a:ext cx="4048125" cy="30368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ea typeface="ＭＳ Ｐゴシック" pitchFamily="34" charset="-128"/>
            </a:endParaRPr>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pitchFamily="34" charset="-128"/>
              </a:defRPr>
            </a:lvl1pPr>
            <a:lvl2pPr marL="724599" indent="-278692" eaLnBrk="0" hangingPunct="0">
              <a:defRPr>
                <a:solidFill>
                  <a:schemeClr val="tx1"/>
                </a:solidFill>
                <a:latin typeface="Arial" charset="0"/>
                <a:ea typeface="ＭＳ Ｐゴシック" pitchFamily="34" charset="-128"/>
              </a:defRPr>
            </a:lvl2pPr>
            <a:lvl3pPr marL="1114768" indent="-222954" eaLnBrk="0" hangingPunct="0">
              <a:defRPr>
                <a:solidFill>
                  <a:schemeClr val="tx1"/>
                </a:solidFill>
                <a:latin typeface="Arial" charset="0"/>
                <a:ea typeface="ＭＳ Ｐゴシック" pitchFamily="34" charset="-128"/>
              </a:defRPr>
            </a:lvl3pPr>
            <a:lvl4pPr marL="1560675" indent="-222954" eaLnBrk="0" hangingPunct="0">
              <a:defRPr>
                <a:solidFill>
                  <a:schemeClr val="tx1"/>
                </a:solidFill>
                <a:latin typeface="Arial" charset="0"/>
                <a:ea typeface="ＭＳ Ｐゴシック" pitchFamily="34" charset="-128"/>
              </a:defRPr>
            </a:lvl4pPr>
            <a:lvl5pPr marL="2006582" indent="-222954" eaLnBrk="0" hangingPunct="0">
              <a:defRPr>
                <a:solidFill>
                  <a:schemeClr val="tx1"/>
                </a:solidFill>
                <a:latin typeface="Arial" charset="0"/>
                <a:ea typeface="ＭＳ Ｐゴシック" pitchFamily="34" charset="-128"/>
              </a:defRPr>
            </a:lvl5pPr>
            <a:lvl6pPr marL="2452489" indent="-222954" eaLnBrk="0" fontAlgn="base" hangingPunct="0">
              <a:spcBef>
                <a:spcPct val="0"/>
              </a:spcBef>
              <a:spcAft>
                <a:spcPct val="0"/>
              </a:spcAft>
              <a:defRPr>
                <a:solidFill>
                  <a:schemeClr val="tx1"/>
                </a:solidFill>
                <a:latin typeface="Arial" charset="0"/>
                <a:ea typeface="ＭＳ Ｐゴシック" pitchFamily="34" charset="-128"/>
              </a:defRPr>
            </a:lvl6pPr>
            <a:lvl7pPr marL="2898397" indent="-222954" eaLnBrk="0" fontAlgn="base" hangingPunct="0">
              <a:spcBef>
                <a:spcPct val="0"/>
              </a:spcBef>
              <a:spcAft>
                <a:spcPct val="0"/>
              </a:spcAft>
              <a:defRPr>
                <a:solidFill>
                  <a:schemeClr val="tx1"/>
                </a:solidFill>
                <a:latin typeface="Arial" charset="0"/>
                <a:ea typeface="ＭＳ Ｐゴシック" pitchFamily="34" charset="-128"/>
              </a:defRPr>
            </a:lvl7pPr>
            <a:lvl8pPr marL="3344304" indent="-222954" eaLnBrk="0" fontAlgn="base" hangingPunct="0">
              <a:spcBef>
                <a:spcPct val="0"/>
              </a:spcBef>
              <a:spcAft>
                <a:spcPct val="0"/>
              </a:spcAft>
              <a:defRPr>
                <a:solidFill>
                  <a:schemeClr val="tx1"/>
                </a:solidFill>
                <a:latin typeface="Arial" charset="0"/>
                <a:ea typeface="ＭＳ Ｐゴシック" pitchFamily="34" charset="-128"/>
              </a:defRPr>
            </a:lvl8pPr>
            <a:lvl9pPr marL="3790211" indent="-222954"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fld id="{26002073-7AA6-40A0-A14C-C9766C836922}" type="slidenum">
              <a:rPr lang="en-US">
                <a:solidFill>
                  <a:prstClr val="black"/>
                </a:solidFill>
                <a:cs typeface="Arial" charset="0"/>
              </a:rPr>
              <a:pPr eaLnBrk="1" hangingPunct="1"/>
              <a:t>1</a:t>
            </a:fld>
            <a:endParaRPr lang="en-US">
              <a:solidFill>
                <a:prstClr val="black"/>
              </a:solidFill>
              <a:cs typeface="Arial" charset="0"/>
            </a:endParaRPr>
          </a:p>
        </p:txBody>
      </p:sp>
    </p:spTree>
    <p:extLst>
      <p:ext uri="{BB962C8B-B14F-4D97-AF65-F5344CB8AC3E}">
        <p14:creationId xmlns:p14="http://schemas.microsoft.com/office/powerpoint/2010/main" val="22089540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E0BAC6DE-BD28-4590-AD31-984BAC7BA6C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94013F92-498B-44AD-B3CB-7749F96297F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p>
        </p:txBody>
      </p:sp>
      <p:sp>
        <p:nvSpPr>
          <p:cNvPr id="21508" name="Slide Number Placeholder 3">
            <a:extLst>
              <a:ext uri="{FF2B5EF4-FFF2-40B4-BE49-F238E27FC236}">
                <a16:creationId xmlns:a16="http://schemas.microsoft.com/office/drawing/2014/main" id="{1015E717-06D6-43E5-A13F-C7BAD9DC165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9BDCD7B5-EEEE-4699-A16C-2FF77512C24C}" type="slidenum">
              <a:rPr lang="en-GB" altLang="en-US">
                <a:latin typeface="Calibri" panose="020F0502020204030204" pitchFamily="34" charset="0"/>
              </a:rPr>
              <a:pPr/>
              <a:t>15</a:t>
            </a:fld>
            <a:endParaRPr lang="en-GB" altLang="en-US">
              <a:latin typeface="Calibri" panose="020F0502020204030204" pitchFamily="34" charset="0"/>
            </a:endParaRPr>
          </a:p>
        </p:txBody>
      </p:sp>
    </p:spTree>
    <p:extLst>
      <p:ext uri="{BB962C8B-B14F-4D97-AF65-F5344CB8AC3E}">
        <p14:creationId xmlns:p14="http://schemas.microsoft.com/office/powerpoint/2010/main" val="15915784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8169E06F-7285-4626-92F4-E808F226F6A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a:extLst>
              <a:ext uri="{FF2B5EF4-FFF2-40B4-BE49-F238E27FC236}">
                <a16:creationId xmlns:a16="http://schemas.microsoft.com/office/drawing/2014/main" id="{6430A209-E40D-4D58-B278-6A34CAC671D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p>
        </p:txBody>
      </p:sp>
      <p:sp>
        <p:nvSpPr>
          <p:cNvPr id="23556" name="Slide Number Placeholder 3">
            <a:extLst>
              <a:ext uri="{FF2B5EF4-FFF2-40B4-BE49-F238E27FC236}">
                <a16:creationId xmlns:a16="http://schemas.microsoft.com/office/drawing/2014/main" id="{BAD25F80-BF5B-4372-844C-B049100B4E0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B5937E64-AE40-4625-9E33-C809D4502FDB}" type="slidenum">
              <a:rPr lang="en-GB" altLang="en-US">
                <a:latin typeface="Calibri" panose="020F0502020204030204" pitchFamily="34" charset="0"/>
              </a:rPr>
              <a:pPr/>
              <a:t>16</a:t>
            </a:fld>
            <a:endParaRPr lang="en-GB" altLang="en-US">
              <a:latin typeface="Calibri" panose="020F0502020204030204" pitchFamily="34" charset="0"/>
            </a:endParaRPr>
          </a:p>
        </p:txBody>
      </p:sp>
    </p:spTree>
    <p:extLst>
      <p:ext uri="{BB962C8B-B14F-4D97-AF65-F5344CB8AC3E}">
        <p14:creationId xmlns:p14="http://schemas.microsoft.com/office/powerpoint/2010/main" val="36592373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E45557-73BB-4248-AA7F-CD4EE5BE3E0A}" type="slidenum">
              <a:rPr lang="en-US" smtClean="0"/>
              <a:t>20</a:t>
            </a:fld>
            <a:endParaRPr lang="en-US"/>
          </a:p>
        </p:txBody>
      </p:sp>
    </p:spTree>
    <p:extLst>
      <p:ext uri="{BB962C8B-B14F-4D97-AF65-F5344CB8AC3E}">
        <p14:creationId xmlns:p14="http://schemas.microsoft.com/office/powerpoint/2010/main" val="3752419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marR="0" algn="just">
              <a:lnSpc>
                <a:spcPct val="115000"/>
              </a:lnSpc>
              <a:spcBef>
                <a:spcPts val="0"/>
              </a:spcBef>
              <a:spcAft>
                <a:spcPts val="1000"/>
              </a:spcAft>
            </a:pPr>
            <a:r>
              <a:rPr lang="en-US" dirty="0"/>
              <a:t>The Rwanda Development Board (RDB) was created in 2008 with the aim of fast tracking economic development in Rwanda to enable the growth of the private sector. RDB is organized around 5 economic cluster departments namely Agriculture, Services, Tourism and Conservation, Information and Communication Technology and Trade and Manufacturing. </a:t>
            </a:r>
            <a:r>
              <a:rPr lang="en-GB" sz="1200" dirty="0">
                <a:effectLst/>
                <a:latin typeface="Calibri" panose="020F0502020204030204" pitchFamily="34" charset="0"/>
                <a:ea typeface="Calibri" panose="020F0502020204030204" pitchFamily="34" charset="0"/>
                <a:cs typeface="Calibri" panose="020F0502020204030204" pitchFamily="34" charset="0"/>
              </a:rPr>
              <a:t>The scope of work includes all aspects related to the development of the private sector. This involves working with and addressing the needs of companies of all sizes (large and SMEs) and both local and foreign investors with an overall mission of fast tracking economic development of Rwanda by enabling private sector growth. To achieve this, the following strategies are used among othe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15000"/>
              </a:lnSpc>
              <a:spcBef>
                <a:spcPts val="0"/>
              </a:spcBef>
              <a:spcAft>
                <a:spcPts val="0"/>
              </a:spcAft>
              <a:buFont typeface="Wingdings" panose="05000000000000000000" pitchFamily="2" charset="2"/>
              <a:buChar char=""/>
            </a:pPr>
            <a:r>
              <a:rPr lang="en-US" sz="1200" dirty="0">
                <a:effectLst/>
                <a:latin typeface="Calibri" panose="020F0502020204030204" pitchFamily="34" charset="0"/>
                <a:ea typeface="Calibri" panose="020F0502020204030204" pitchFamily="34" charset="0"/>
                <a:cs typeface="Calibri" panose="020F0502020204030204" pitchFamily="34" charset="0"/>
              </a:rPr>
              <a:t>Promote Rwanda as an investment destina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15000"/>
              </a:lnSpc>
              <a:spcBef>
                <a:spcPts val="0"/>
              </a:spcBef>
              <a:spcAft>
                <a:spcPts val="0"/>
              </a:spcAft>
              <a:buFont typeface="Wingdings" panose="05000000000000000000" pitchFamily="2" charset="2"/>
              <a:buChar char=""/>
            </a:pPr>
            <a:r>
              <a:rPr lang="en-US" sz="1200" dirty="0">
                <a:effectLst/>
                <a:latin typeface="Calibri" panose="020F0502020204030204" pitchFamily="34" charset="0"/>
                <a:ea typeface="Calibri" panose="020F0502020204030204" pitchFamily="34" charset="0"/>
                <a:cs typeface="Calibri" panose="020F0502020204030204" pitchFamily="34" charset="0"/>
              </a:rPr>
              <a:t>Proactively identify and target investors and interest them with the array of available investment opportunit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15000"/>
              </a:lnSpc>
              <a:spcBef>
                <a:spcPts val="0"/>
              </a:spcBef>
              <a:spcAft>
                <a:spcPts val="0"/>
              </a:spcAft>
              <a:buFont typeface="Wingdings" panose="05000000000000000000" pitchFamily="2" charset="2"/>
              <a:buChar char=""/>
            </a:pPr>
            <a:r>
              <a:rPr lang="en-US" sz="1200" dirty="0">
                <a:effectLst/>
                <a:latin typeface="Calibri" panose="020F0502020204030204" pitchFamily="34" charset="0"/>
                <a:ea typeface="Calibri" panose="020F0502020204030204" pitchFamily="34" charset="0"/>
                <a:cs typeface="Calibri" panose="020F0502020204030204" pitchFamily="34" charset="0"/>
              </a:rPr>
              <a:t>Provide accurate and timely responses to investor requests for informa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15000"/>
              </a:lnSpc>
              <a:spcBef>
                <a:spcPts val="0"/>
              </a:spcBef>
              <a:spcAft>
                <a:spcPts val="0"/>
              </a:spcAft>
              <a:buFont typeface="Wingdings" panose="05000000000000000000" pitchFamily="2" charset="2"/>
              <a:buChar char=""/>
            </a:pPr>
            <a:r>
              <a:rPr lang="en-US" sz="1200" dirty="0">
                <a:effectLst/>
                <a:latin typeface="Calibri" panose="020F0502020204030204" pitchFamily="34" charset="0"/>
                <a:ea typeface="Calibri" panose="020F0502020204030204" pitchFamily="34" charset="0"/>
                <a:cs typeface="Calibri" panose="020F0502020204030204" pitchFamily="34" charset="0"/>
              </a:rPr>
              <a:t>Negotiate strategic investments on behalf of the Government of Rwanda,</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15000"/>
              </a:lnSpc>
              <a:spcBef>
                <a:spcPts val="0"/>
              </a:spcBef>
              <a:spcAft>
                <a:spcPts val="0"/>
              </a:spcAft>
              <a:buFont typeface="Wingdings" panose="05000000000000000000" pitchFamily="2" charset="2"/>
              <a:buChar char=""/>
            </a:pPr>
            <a:r>
              <a:rPr lang="en-US" sz="1200" dirty="0">
                <a:effectLst/>
                <a:latin typeface="Calibri" panose="020F0502020204030204" pitchFamily="34" charset="0"/>
                <a:ea typeface="Calibri" panose="020F0502020204030204" pitchFamily="34" charset="0"/>
                <a:cs typeface="Calibri" panose="020F0502020204030204" pitchFamily="34" charset="0"/>
              </a:rPr>
              <a:t>Solve problems and create linkages for investors with government and private sector to operationalize investments and grow existing businesses,</a:t>
            </a:r>
            <a:endParaRPr lang="en-US" dirty="0"/>
          </a:p>
          <a:p>
            <a:endParaRPr lang="en-US" dirty="0"/>
          </a:p>
          <a:p>
            <a:r>
              <a:rPr lang="en-US" dirty="0"/>
              <a:t>Rwanda is a resilient, forward-looking country with a vision to elevate to a middle income, service and knowledge-based economy by 2020. In the last 23 years, Rwanda has taken back the reigns to redefine itself as the preferred investment and tourism destination in Africa. Under HE President Paul </a:t>
            </a:r>
            <a:r>
              <a:rPr lang="en-US" dirty="0" err="1"/>
              <a:t>Kagame’s</a:t>
            </a:r>
            <a:r>
              <a:rPr lang="en-US" dirty="0"/>
              <a:t> leadership, Rwanda has become a reference point for good governance in the region, political stability with well-functioning institutions, observance of the rule of law and zero tolerance</a:t>
            </a:r>
          </a:p>
          <a:p>
            <a:r>
              <a:rPr lang="en-US" dirty="0"/>
              <a:t>for corruption. We are also recognized as having made great advances in ICT, and have been consistently ranked first globally in ICT promotion, </a:t>
            </a:r>
          </a:p>
        </p:txBody>
      </p:sp>
      <p:sp>
        <p:nvSpPr>
          <p:cNvPr id="4" name="Slide Number Placeholder 3"/>
          <p:cNvSpPr>
            <a:spLocks noGrp="1"/>
          </p:cNvSpPr>
          <p:nvPr>
            <p:ph type="sldNum" sz="quarter" idx="10"/>
          </p:nvPr>
        </p:nvSpPr>
        <p:spPr/>
        <p:txBody>
          <a:bodyPr/>
          <a:lstStyle/>
          <a:p>
            <a:pPr>
              <a:defRPr/>
            </a:pPr>
            <a:fld id="{EB80FDE9-7C24-472D-830A-E6CA9F4778E1}" type="slidenum">
              <a:rPr lang="en-US" smtClean="0">
                <a:solidFill>
                  <a:prstClr val="black"/>
                </a:solidFill>
              </a:rPr>
              <a:pPr>
                <a:defRPr/>
              </a:pPr>
              <a:t>2</a:t>
            </a:fld>
            <a:endParaRPr lang="en-US">
              <a:solidFill>
                <a:prstClr val="black"/>
              </a:solidFill>
            </a:endParaRPr>
          </a:p>
        </p:txBody>
      </p:sp>
    </p:spTree>
    <p:extLst>
      <p:ext uri="{BB962C8B-B14F-4D97-AF65-F5344CB8AC3E}">
        <p14:creationId xmlns:p14="http://schemas.microsoft.com/office/powerpoint/2010/main" val="362550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latin typeface="Times New Roman" panose="02020603050405020304" pitchFamily="18" charset="0"/>
              </a:rPr>
              <a:t>The Vision 2020 is a reflection of our aspiration and determination as Rwandans, to construct a  united, democratic and inclusive Rwandan identity, after so many years of authoritarian and exclusivist dispensation. We aim, through this Vision, to transform our country into a middle - income nation in which Rwandans are healthier, educated and generally more prosperous. The Rwanda we seek is one that is united and competitive both regionally and globally. </a:t>
            </a:r>
          </a:p>
          <a:p>
            <a:endParaRPr lang="en-US" dirty="0"/>
          </a:p>
          <a:p>
            <a:r>
              <a:rPr lang="en-US" dirty="0"/>
              <a:t>To achieve this, the Vision 2020 identifies six interwoven pillars, including good governance and efficient State, skilled human capital, vibrant private sector, world -class physical infrastructure and modern agriculture and livestock, all geared towards national, regional and global markets.</a:t>
            </a:r>
          </a:p>
        </p:txBody>
      </p:sp>
      <p:sp>
        <p:nvSpPr>
          <p:cNvPr id="4" name="Slide Number Placeholder 3"/>
          <p:cNvSpPr>
            <a:spLocks noGrp="1"/>
          </p:cNvSpPr>
          <p:nvPr>
            <p:ph type="sldNum" sz="quarter" idx="10"/>
          </p:nvPr>
        </p:nvSpPr>
        <p:spPr/>
        <p:txBody>
          <a:bodyPr/>
          <a:lstStyle/>
          <a:p>
            <a:fld id="{9FE45557-73BB-4248-AA7F-CD4EE5BE3E0A}" type="slidenum">
              <a:rPr lang="en-US" smtClean="0"/>
              <a:t>3</a:t>
            </a:fld>
            <a:endParaRPr lang="en-US"/>
          </a:p>
        </p:txBody>
      </p:sp>
    </p:spTree>
    <p:extLst>
      <p:ext uri="{BB962C8B-B14F-4D97-AF65-F5344CB8AC3E}">
        <p14:creationId xmlns:p14="http://schemas.microsoft.com/office/powerpoint/2010/main" val="1308446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994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48C1D07E-F2C8-47D3-B123-AC314D07DEF4}" type="slidenum">
              <a:rPr lang="en-US" altLang="en-US"/>
              <a:pPr eaLnBrk="1" hangingPunct="1"/>
              <a:t>4</a:t>
            </a:fld>
            <a:endParaRPr lang="en-US" altLang="en-US"/>
          </a:p>
        </p:txBody>
      </p:sp>
    </p:spTree>
    <p:extLst>
      <p:ext uri="{BB962C8B-B14F-4D97-AF65-F5344CB8AC3E}">
        <p14:creationId xmlns:p14="http://schemas.microsoft.com/office/powerpoint/2010/main" val="3668041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E45557-73BB-4248-AA7F-CD4EE5BE3E0A}" type="slidenum">
              <a:rPr lang="en-US" smtClean="0"/>
              <a:t>6</a:t>
            </a:fld>
            <a:endParaRPr lang="en-US"/>
          </a:p>
        </p:txBody>
      </p:sp>
    </p:spTree>
    <p:extLst>
      <p:ext uri="{BB962C8B-B14F-4D97-AF65-F5344CB8AC3E}">
        <p14:creationId xmlns:p14="http://schemas.microsoft.com/office/powerpoint/2010/main" val="5795389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E45557-73BB-4248-AA7F-CD4EE5BE3E0A}" type="slidenum">
              <a:rPr lang="en-US" smtClean="0"/>
              <a:t>8</a:t>
            </a:fld>
            <a:endParaRPr lang="en-US"/>
          </a:p>
        </p:txBody>
      </p:sp>
    </p:spTree>
    <p:extLst>
      <p:ext uri="{BB962C8B-B14F-4D97-AF65-F5344CB8AC3E}">
        <p14:creationId xmlns:p14="http://schemas.microsoft.com/office/powerpoint/2010/main" val="19841758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E45557-73BB-4248-AA7F-CD4EE5BE3E0A}" type="slidenum">
              <a:rPr lang="en-US" smtClean="0"/>
              <a:t>9</a:t>
            </a:fld>
            <a:endParaRPr lang="en-US"/>
          </a:p>
        </p:txBody>
      </p:sp>
    </p:spTree>
    <p:extLst>
      <p:ext uri="{BB962C8B-B14F-4D97-AF65-F5344CB8AC3E}">
        <p14:creationId xmlns:p14="http://schemas.microsoft.com/office/powerpoint/2010/main" val="3752419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6F3CD190-FEE7-4958-92FE-9186AA3C52F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a:extLst>
              <a:ext uri="{FF2B5EF4-FFF2-40B4-BE49-F238E27FC236}">
                <a16:creationId xmlns:a16="http://schemas.microsoft.com/office/drawing/2014/main" id="{F32A5952-8408-43AF-ACEF-245BEC5830A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16388" name="Slide Number Placeholder 3">
            <a:extLst>
              <a:ext uri="{FF2B5EF4-FFF2-40B4-BE49-F238E27FC236}">
                <a16:creationId xmlns:a16="http://schemas.microsoft.com/office/drawing/2014/main" id="{3864461B-7F6A-418B-84C7-39A7BBF3970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01CE638B-FB9E-4F64-BF28-56891922A4CA}" type="slidenum">
              <a:rPr lang="en-GB" altLang="en-US">
                <a:latin typeface="Calibri" panose="020F0502020204030204" pitchFamily="34" charset="0"/>
              </a:rPr>
              <a:pPr/>
              <a:t>12</a:t>
            </a:fld>
            <a:endParaRPr lang="en-GB" altLang="en-US">
              <a:latin typeface="Calibri" panose="020F0502020204030204" pitchFamily="34" charset="0"/>
            </a:endParaRPr>
          </a:p>
        </p:txBody>
      </p:sp>
    </p:spTree>
    <p:extLst>
      <p:ext uri="{BB962C8B-B14F-4D97-AF65-F5344CB8AC3E}">
        <p14:creationId xmlns:p14="http://schemas.microsoft.com/office/powerpoint/2010/main" val="31371146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FD33608A-8845-4039-B643-E0079A544ED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a:extLst>
              <a:ext uri="{FF2B5EF4-FFF2-40B4-BE49-F238E27FC236}">
                <a16:creationId xmlns:a16="http://schemas.microsoft.com/office/drawing/2014/main" id="{35B7ABB9-51CA-48F4-8DD0-308DD41A025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p>
        </p:txBody>
      </p:sp>
      <p:sp>
        <p:nvSpPr>
          <p:cNvPr id="19460" name="Slide Number Placeholder 3">
            <a:extLst>
              <a:ext uri="{FF2B5EF4-FFF2-40B4-BE49-F238E27FC236}">
                <a16:creationId xmlns:a16="http://schemas.microsoft.com/office/drawing/2014/main" id="{73EF2F63-3A48-4426-A1F6-1935314038B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A4BA55CD-0909-4BAE-97C0-ECD92196EF34}" type="slidenum">
              <a:rPr lang="en-GB" altLang="en-US">
                <a:latin typeface="Calibri" panose="020F0502020204030204" pitchFamily="34" charset="0"/>
              </a:rPr>
              <a:pPr/>
              <a:t>14</a:t>
            </a:fld>
            <a:endParaRPr lang="en-GB" altLang="en-US">
              <a:latin typeface="Calibri" panose="020F0502020204030204" pitchFamily="34" charset="0"/>
            </a:endParaRPr>
          </a:p>
        </p:txBody>
      </p:sp>
    </p:spTree>
    <p:extLst>
      <p:ext uri="{BB962C8B-B14F-4D97-AF65-F5344CB8AC3E}">
        <p14:creationId xmlns:p14="http://schemas.microsoft.com/office/powerpoint/2010/main" val="27894926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tr-TR"/>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a:t>Click to edit Master subtitle style</a:t>
            </a:r>
            <a:endParaRPr lang="en-US"/>
          </a:p>
        </p:txBody>
      </p:sp>
      <p:sp>
        <p:nvSpPr>
          <p:cNvPr id="4" name="Date Placeholder 3"/>
          <p:cNvSpPr>
            <a:spLocks noGrp="1"/>
          </p:cNvSpPr>
          <p:nvPr>
            <p:ph type="dt" sz="half" idx="10"/>
          </p:nvPr>
        </p:nvSpPr>
        <p:spPr/>
        <p:txBody>
          <a:bodyPr/>
          <a:lstStyle/>
          <a:p>
            <a:fld id="{78464125-00D1-BE49-BD92-EEB9DB437024}" type="datetime1">
              <a:rPr lang="en-US" smtClean="0"/>
              <a:t>10/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5013A8-F3E1-2C42-B42A-3ED798E2D4A7}" type="slidenum">
              <a:rPr lang="en-US" smtClean="0"/>
              <a:t>‹#›</a:t>
            </a:fld>
            <a:endParaRPr lang="en-US"/>
          </a:p>
        </p:txBody>
      </p:sp>
    </p:spTree>
    <p:extLst>
      <p:ext uri="{BB962C8B-B14F-4D97-AF65-F5344CB8AC3E}">
        <p14:creationId xmlns:p14="http://schemas.microsoft.com/office/powerpoint/2010/main" val="18181589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
        <p:nvSpPr>
          <p:cNvPr id="4" name="Date Placeholder 3"/>
          <p:cNvSpPr>
            <a:spLocks noGrp="1"/>
          </p:cNvSpPr>
          <p:nvPr>
            <p:ph type="dt" sz="half" idx="10"/>
          </p:nvPr>
        </p:nvSpPr>
        <p:spPr/>
        <p:txBody>
          <a:bodyPr/>
          <a:lstStyle/>
          <a:p>
            <a:fld id="{FAB2EFFE-DDA8-A248-9DB2-E773C885EE95}" type="datetime1">
              <a:rPr lang="en-US" smtClean="0"/>
              <a:t>10/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5013A8-F3E1-2C42-B42A-3ED798E2D4A7}" type="slidenum">
              <a:rPr lang="en-US" smtClean="0"/>
              <a:t>‹#›</a:t>
            </a:fld>
            <a:endParaRPr lang="en-US"/>
          </a:p>
        </p:txBody>
      </p:sp>
    </p:spTree>
    <p:extLst>
      <p:ext uri="{BB962C8B-B14F-4D97-AF65-F5344CB8AC3E}">
        <p14:creationId xmlns:p14="http://schemas.microsoft.com/office/powerpoint/2010/main" val="16890627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tr-TR"/>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
        <p:nvSpPr>
          <p:cNvPr id="4" name="Date Placeholder 3"/>
          <p:cNvSpPr>
            <a:spLocks noGrp="1"/>
          </p:cNvSpPr>
          <p:nvPr>
            <p:ph type="dt" sz="half" idx="10"/>
          </p:nvPr>
        </p:nvSpPr>
        <p:spPr/>
        <p:txBody>
          <a:bodyPr/>
          <a:lstStyle/>
          <a:p>
            <a:fld id="{1C203928-B591-DC4D-A50C-F63E45C3F993}" type="datetime1">
              <a:rPr lang="en-US" smtClean="0"/>
              <a:t>10/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5013A8-F3E1-2C42-B42A-3ED798E2D4A7}" type="slidenum">
              <a:rPr lang="en-US" smtClean="0"/>
              <a:t>‹#›</a:t>
            </a:fld>
            <a:endParaRPr lang="en-US"/>
          </a:p>
        </p:txBody>
      </p:sp>
    </p:spTree>
    <p:extLst>
      <p:ext uri="{BB962C8B-B14F-4D97-AF65-F5344CB8AC3E}">
        <p14:creationId xmlns:p14="http://schemas.microsoft.com/office/powerpoint/2010/main" val="3110829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RDB blue &amp; yellow heading lin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1" cy="1587"/>
        </p:xfrm>
        <a:graphic>
          <a:graphicData uri="http://schemas.openxmlformats.org/presentationml/2006/ole">
            <mc:AlternateContent xmlns:mc="http://schemas.openxmlformats.org/markup-compatibility/2006">
              <mc:Choice xmlns:v="urn:schemas-microsoft-com:vml" Requires="v">
                <p:oleObj spid="_x0000_s11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89"/>
                        <a:ext cx="1191" cy="1587"/>
                      </a:xfrm>
                      <a:prstGeom prst="rect">
                        <a:avLst/>
                      </a:prstGeom>
                    </p:spPr>
                  </p:pic>
                </p:oleObj>
              </mc:Fallback>
            </mc:AlternateContent>
          </a:graphicData>
        </a:graphic>
      </p:graphicFrame>
      <p:sp>
        <p:nvSpPr>
          <p:cNvPr id="5" name="Straight Connector 6"/>
          <p:cNvSpPr>
            <a:spLocks noChangeShapeType="1"/>
          </p:cNvSpPr>
          <p:nvPr userDrawn="1"/>
        </p:nvSpPr>
        <p:spPr bwMode="auto">
          <a:xfrm>
            <a:off x="228600" y="1008063"/>
            <a:ext cx="8686800" cy="0"/>
          </a:xfrm>
          <a:prstGeom prst="line">
            <a:avLst/>
          </a:prstGeom>
          <a:ln w="31750">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a:lstStyle/>
          <a:p>
            <a:pPr>
              <a:defRPr/>
            </a:pPr>
            <a:endParaRPr lang="en-US" sz="1350" dirty="0">
              <a:ln>
                <a:solidFill>
                  <a:prstClr val="black"/>
                </a:solidFill>
              </a:ln>
              <a:solidFill>
                <a:prstClr val="black"/>
              </a:solidFill>
            </a:endParaRPr>
          </a:p>
        </p:txBody>
      </p:sp>
      <p:sp>
        <p:nvSpPr>
          <p:cNvPr id="7" name="Straight Connector 8"/>
          <p:cNvSpPr>
            <a:spLocks noChangeShapeType="1"/>
          </p:cNvSpPr>
          <p:nvPr userDrawn="1"/>
        </p:nvSpPr>
        <p:spPr bwMode="auto">
          <a:xfrm>
            <a:off x="228600" y="1066800"/>
            <a:ext cx="8686800" cy="0"/>
          </a:xfrm>
          <a:prstGeom prst="line">
            <a:avLst/>
          </a:prstGeom>
          <a:ln w="31750">
            <a:headEnd type="none" w="med" len="med"/>
            <a:tailEnd type="none" w="med" len="med"/>
          </a:ln>
        </p:spPr>
        <p:style>
          <a:lnRef idx="1">
            <a:schemeClr val="accent5"/>
          </a:lnRef>
          <a:fillRef idx="0">
            <a:schemeClr val="accent5"/>
          </a:fillRef>
          <a:effectRef idx="0">
            <a:schemeClr val="accent5"/>
          </a:effectRef>
          <a:fontRef idx="minor">
            <a:schemeClr val="tx1"/>
          </a:fontRef>
        </p:style>
        <p:txBody>
          <a:bodyPr/>
          <a:lstStyle/>
          <a:p>
            <a:pPr>
              <a:defRPr/>
            </a:pPr>
            <a:endParaRPr lang="en-US" sz="1350" dirty="0">
              <a:ln>
                <a:solidFill>
                  <a:prstClr val="black"/>
                </a:solidFill>
              </a:ln>
              <a:solidFill>
                <a:prstClr val="black"/>
              </a:solidFill>
            </a:endParaRPr>
          </a:p>
        </p:txBody>
      </p:sp>
      <p:sp>
        <p:nvSpPr>
          <p:cNvPr id="8" name="Straight Connector 8"/>
          <p:cNvSpPr>
            <a:spLocks noChangeShapeType="1"/>
          </p:cNvSpPr>
          <p:nvPr userDrawn="1"/>
        </p:nvSpPr>
        <p:spPr bwMode="auto">
          <a:xfrm>
            <a:off x="152404" y="6477000"/>
            <a:ext cx="8805863" cy="0"/>
          </a:xfrm>
          <a:prstGeom prst="line">
            <a:avLst/>
          </a:prstGeom>
          <a:ln>
            <a:solidFill>
              <a:schemeClr val="tx2"/>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a:lstStyle/>
          <a:p>
            <a:pPr>
              <a:defRPr/>
            </a:pPr>
            <a:endParaRPr lang="en-US" sz="1350" dirty="0">
              <a:solidFill>
                <a:prstClr val="black"/>
              </a:solidFill>
            </a:endParaRPr>
          </a:p>
        </p:txBody>
      </p:sp>
      <p:sp>
        <p:nvSpPr>
          <p:cNvPr id="6" name="Content Placeholder 2"/>
          <p:cNvSpPr>
            <a:spLocks noGrp="1"/>
          </p:cNvSpPr>
          <p:nvPr>
            <p:ph sz="quarter" idx="4294967295"/>
          </p:nvPr>
        </p:nvSpPr>
        <p:spPr>
          <a:xfrm>
            <a:off x="228600" y="1524000"/>
            <a:ext cx="8686800" cy="4800600"/>
          </a:xfrm>
        </p:spPr>
        <p:txBody>
          <a:bodyPr/>
          <a:lstStyle>
            <a:lvl1pPr>
              <a:defRPr sz="1800">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stStyle>
          <a:p>
            <a:r>
              <a:rPr lang="en-US" dirty="0"/>
              <a:t>Testing</a:t>
            </a:r>
          </a:p>
          <a:p>
            <a:pPr lvl="1"/>
            <a:r>
              <a:rPr lang="en-US" dirty="0"/>
              <a:t>Testing</a:t>
            </a:r>
          </a:p>
          <a:p>
            <a:pPr lvl="2"/>
            <a:r>
              <a:rPr lang="en-US" dirty="0"/>
              <a:t>Testing</a:t>
            </a:r>
          </a:p>
          <a:p>
            <a:pPr lvl="3"/>
            <a:r>
              <a:rPr lang="en-US" dirty="0"/>
              <a:t>Testing</a:t>
            </a:r>
          </a:p>
          <a:p>
            <a:pPr lvl="4"/>
            <a:r>
              <a:rPr lang="en-US" dirty="0"/>
              <a:t>Testing</a:t>
            </a:r>
          </a:p>
          <a:p>
            <a:pPr lvl="4"/>
            <a:r>
              <a:rPr lang="en-US" dirty="0"/>
              <a:t>Testing</a:t>
            </a:r>
          </a:p>
        </p:txBody>
      </p:sp>
      <p:sp>
        <p:nvSpPr>
          <p:cNvPr id="10" name="Title 1"/>
          <p:cNvSpPr>
            <a:spLocks noGrp="1"/>
          </p:cNvSpPr>
          <p:nvPr>
            <p:ph type="title"/>
          </p:nvPr>
        </p:nvSpPr>
        <p:spPr>
          <a:xfrm>
            <a:off x="152400" y="76200"/>
            <a:ext cx="6400800" cy="914400"/>
          </a:xfrm>
          <a:prstGeom prst="rect">
            <a:avLst/>
          </a:prstGeom>
        </p:spPr>
        <p:txBody>
          <a:bodyPr anchor="b" anchorCtr="0"/>
          <a:lstStyle>
            <a:lvl1pPr>
              <a:defRPr sz="1951" b="1">
                <a:solidFill>
                  <a:schemeClr val="tx1"/>
                </a:solidFill>
                <a:latin typeface="Arial" pitchFamily="34" charset="0"/>
                <a:cs typeface="Arial" pitchFamily="34" charset="0"/>
              </a:defRPr>
            </a:lvl1pPr>
          </a:lstStyle>
          <a:p>
            <a:r>
              <a:rPr lang="en-US" dirty="0"/>
              <a:t>Click to edit Master title style</a:t>
            </a:r>
          </a:p>
        </p:txBody>
      </p:sp>
      <p:sp>
        <p:nvSpPr>
          <p:cNvPr id="14" name="Text Placeholder 13"/>
          <p:cNvSpPr>
            <a:spLocks noGrp="1"/>
          </p:cNvSpPr>
          <p:nvPr>
            <p:ph type="body" sz="quarter" idx="11"/>
          </p:nvPr>
        </p:nvSpPr>
        <p:spPr>
          <a:xfrm>
            <a:off x="76201" y="6477000"/>
            <a:ext cx="6781800" cy="381000"/>
          </a:xfrm>
        </p:spPr>
        <p:txBody>
          <a:bodyPr/>
          <a:lstStyle>
            <a:lvl1pPr marL="431121" indent="-431121" algn="l" defTabSz="671692" rtl="0" fontAlgn="base">
              <a:spcBef>
                <a:spcPct val="0"/>
              </a:spcBef>
              <a:spcAft>
                <a:spcPct val="0"/>
              </a:spcAft>
              <a:buNone/>
              <a:tabLst>
                <a:tab pos="400157" algn="r"/>
              </a:tabLst>
              <a:defRPr lang="en-US" sz="900" kern="1200" dirty="0" smtClean="0">
                <a:solidFill>
                  <a:srgbClr val="000000"/>
                </a:solidFill>
                <a:latin typeface="Arial" charset="0"/>
                <a:ea typeface="+mn-ea"/>
                <a:cs typeface="+mn-cs"/>
              </a:defRPr>
            </a:lvl1pPr>
            <a:lvl2pPr marL="431121" indent="-431121" algn="l" defTabSz="671692" rtl="0" fontAlgn="base">
              <a:spcBef>
                <a:spcPct val="0"/>
              </a:spcBef>
              <a:spcAft>
                <a:spcPct val="0"/>
              </a:spcAft>
              <a:tabLst>
                <a:tab pos="400157" algn="r"/>
              </a:tabLst>
              <a:defRPr lang="en-US" sz="900" kern="1200" dirty="0" smtClean="0">
                <a:solidFill>
                  <a:srgbClr val="000000"/>
                </a:solidFill>
                <a:latin typeface="Arial" charset="0"/>
                <a:ea typeface="+mn-ea"/>
                <a:cs typeface="+mn-cs"/>
              </a:defRPr>
            </a:lvl2pPr>
            <a:lvl3pPr marL="431121" indent="-431121" algn="l" defTabSz="671692" rtl="0" fontAlgn="base">
              <a:spcBef>
                <a:spcPct val="0"/>
              </a:spcBef>
              <a:spcAft>
                <a:spcPct val="0"/>
              </a:spcAft>
              <a:tabLst>
                <a:tab pos="400157" algn="r"/>
              </a:tabLst>
              <a:defRPr lang="en-US" sz="900" kern="1200" dirty="0" smtClean="0">
                <a:solidFill>
                  <a:srgbClr val="000000"/>
                </a:solidFill>
                <a:latin typeface="Arial" charset="0"/>
                <a:ea typeface="+mn-ea"/>
                <a:cs typeface="+mn-cs"/>
              </a:defRPr>
            </a:lvl3pPr>
          </a:lstStyle>
          <a:p>
            <a:pPr lvl="0"/>
            <a:r>
              <a:rPr lang="en-US" dirty="0"/>
              <a:t>Click to edit Master text styles</a:t>
            </a:r>
          </a:p>
        </p:txBody>
      </p:sp>
      <p:sp>
        <p:nvSpPr>
          <p:cNvPr id="9" name="Slide Number Placeholder 5"/>
          <p:cNvSpPr>
            <a:spLocks noGrp="1"/>
          </p:cNvSpPr>
          <p:nvPr>
            <p:ph type="sldNum" sz="quarter" idx="12"/>
          </p:nvPr>
        </p:nvSpPr>
        <p:spPr>
          <a:xfrm>
            <a:off x="7010400" y="6416684"/>
            <a:ext cx="1981200" cy="365125"/>
          </a:xfrm>
          <a:prstGeom prst="rect">
            <a:avLst/>
          </a:prstGeom>
        </p:spPr>
        <p:txBody>
          <a:bodyPr/>
          <a:lstStyle>
            <a:lvl1pPr algn="r" fontAlgn="auto">
              <a:spcBef>
                <a:spcPts val="0"/>
              </a:spcBef>
              <a:spcAft>
                <a:spcPts val="0"/>
              </a:spcAft>
              <a:defRPr sz="750">
                <a:solidFill>
                  <a:srgbClr val="464653"/>
                </a:solidFill>
                <a:latin typeface="Arial" pitchFamily="34" charset="0"/>
                <a:cs typeface="Arial" pitchFamily="34" charset="0"/>
              </a:defRPr>
            </a:lvl1pPr>
          </a:lstStyle>
          <a:p>
            <a:pPr>
              <a:defRPr/>
            </a:pPr>
            <a:fld id="{DDB5DC4A-B0A2-42DA-92C7-4C966BD0DB29}" type="slidenum">
              <a:rPr lang="en-US"/>
              <a:pPr>
                <a:defRPr/>
              </a:pPr>
              <a:t>‹#›</a:t>
            </a:fld>
            <a:endParaRPr lang="en-US" dirty="0"/>
          </a:p>
        </p:txBody>
      </p:sp>
    </p:spTree>
    <p:extLst>
      <p:ext uri="{BB962C8B-B14F-4D97-AF65-F5344CB8AC3E}">
        <p14:creationId xmlns:p14="http://schemas.microsoft.com/office/powerpoint/2010/main" val="41379767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RDB default 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nvPr>
        </p:nvGraphicFramePr>
        <p:xfrm>
          <a:off x="1191" y="1589"/>
          <a:ext cx="1191" cy="1587"/>
        </p:xfrm>
        <a:graphic>
          <a:graphicData uri="http://schemas.openxmlformats.org/presentationml/2006/ole">
            <mc:AlternateContent xmlns:mc="http://schemas.openxmlformats.org/markup-compatibility/2006">
              <mc:Choice xmlns:v="urn:schemas-microsoft-com:vml" Requires="v">
                <p:oleObj spid="_x0000_s2083"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1191" y="1589"/>
                        <a:ext cx="1191" cy="1587"/>
                      </a:xfrm>
                      <a:prstGeom prst="rect">
                        <a:avLst/>
                      </a:prstGeom>
                    </p:spPr>
                  </p:pic>
                </p:oleObj>
              </mc:Fallback>
            </mc:AlternateContent>
          </a:graphicData>
        </a:graphic>
      </p:graphicFrame>
      <p:sp>
        <p:nvSpPr>
          <p:cNvPr id="3" name="Rectangle 3"/>
          <p:cNvSpPr/>
          <p:nvPr/>
        </p:nvSpPr>
        <p:spPr>
          <a:xfrm>
            <a:off x="0" y="6172200"/>
            <a:ext cx="9144000" cy="685800"/>
          </a:xfrm>
          <a:prstGeom prst="rect">
            <a:avLst/>
          </a:prstGeom>
          <a:solidFill>
            <a:srgbClr val="008E25"/>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350" dirty="0">
              <a:solidFill>
                <a:srgbClr val="FFFFFF"/>
              </a:solidFill>
            </a:endParaRPr>
          </a:p>
        </p:txBody>
      </p:sp>
      <p:sp>
        <p:nvSpPr>
          <p:cNvPr id="4" name="Rectangle 4"/>
          <p:cNvSpPr/>
          <p:nvPr/>
        </p:nvSpPr>
        <p:spPr>
          <a:xfrm>
            <a:off x="2590800" y="1295400"/>
            <a:ext cx="6248400" cy="2362200"/>
          </a:xfrm>
          <a:prstGeom prst="rect">
            <a:avLst/>
          </a:prstGeom>
          <a:noFill/>
          <a:ln w="6350" cap="rnd" cmpd="sng" algn="ctr">
            <a:solidFill>
              <a:srgbClr val="0069B8"/>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350" dirty="0">
              <a:solidFill>
                <a:srgbClr val="FFFFFF"/>
              </a:solidFill>
            </a:endParaRPr>
          </a:p>
        </p:txBody>
      </p:sp>
      <p:sp>
        <p:nvSpPr>
          <p:cNvPr id="5" name="Rectangle 5"/>
          <p:cNvSpPr/>
          <p:nvPr/>
        </p:nvSpPr>
        <p:spPr>
          <a:xfrm>
            <a:off x="2590800" y="1295400"/>
            <a:ext cx="228600" cy="2362200"/>
          </a:xfrm>
          <a:prstGeom prst="rect">
            <a:avLst/>
          </a:prstGeom>
          <a:solidFill>
            <a:srgbClr val="0069B8"/>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350" dirty="0">
              <a:solidFill>
                <a:srgbClr val="FFFFFF"/>
              </a:solidFill>
            </a:endParaRPr>
          </a:p>
        </p:txBody>
      </p:sp>
      <p:sp>
        <p:nvSpPr>
          <p:cNvPr id="6" name="Subtitle 8"/>
          <p:cNvSpPr txBox="1">
            <a:spLocks/>
          </p:cNvSpPr>
          <p:nvPr/>
        </p:nvSpPr>
        <p:spPr>
          <a:xfrm>
            <a:off x="2971800" y="6248400"/>
            <a:ext cx="5867400" cy="609600"/>
          </a:xfrm>
          <a:prstGeom prst="rect">
            <a:avLst/>
          </a:prstGeom>
        </p:spPr>
        <p:txBody>
          <a:bodyPr>
            <a:norm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eaLnBrk="1" hangingPunct="1">
              <a:lnSpc>
                <a:spcPct val="80000"/>
              </a:lnSpc>
              <a:spcBef>
                <a:spcPts val="450"/>
              </a:spcBef>
              <a:buClr>
                <a:srgbClr val="00B0F0"/>
              </a:buClr>
              <a:buSzPct val="76000"/>
              <a:buFont typeface="Symbol" pitchFamily="18" charset="2"/>
              <a:buNone/>
              <a:defRPr/>
            </a:pPr>
            <a:r>
              <a:rPr lang="en-US" sz="600">
                <a:solidFill>
                  <a:srgbClr val="DDE9EC"/>
                </a:solidFill>
                <a:cs typeface="Arial" pitchFamily="34" charset="0"/>
                <a:sym typeface="Symbol" pitchFamily="18" charset="2"/>
              </a:rPr>
              <a:t>© Rwanda Development Board, Confidential</a:t>
            </a:r>
          </a:p>
          <a:p>
            <a:pPr algn="r" eaLnBrk="1" hangingPunct="1">
              <a:lnSpc>
                <a:spcPct val="80000"/>
              </a:lnSpc>
              <a:spcBef>
                <a:spcPts val="450"/>
              </a:spcBef>
              <a:buClr>
                <a:srgbClr val="00B0F0"/>
              </a:buClr>
              <a:buSzPct val="76000"/>
              <a:buFont typeface="Symbol" pitchFamily="18" charset="2"/>
              <a:buNone/>
              <a:defRPr/>
            </a:pPr>
            <a:r>
              <a:rPr lang="en-US" sz="600">
                <a:solidFill>
                  <a:srgbClr val="DDE9EC"/>
                </a:solidFill>
                <a:cs typeface="Arial" pitchFamily="34" charset="0"/>
              </a:rPr>
              <a:t>This document does not constitute Government policy</a:t>
            </a:r>
          </a:p>
          <a:p>
            <a:pPr algn="r" eaLnBrk="1" hangingPunct="1">
              <a:lnSpc>
                <a:spcPct val="80000"/>
              </a:lnSpc>
              <a:spcBef>
                <a:spcPts val="450"/>
              </a:spcBef>
              <a:buClr>
                <a:srgbClr val="00B0F0"/>
              </a:buClr>
              <a:buSzPct val="76000"/>
              <a:buFont typeface="Symbol" pitchFamily="18" charset="2"/>
              <a:buNone/>
              <a:defRPr/>
            </a:pPr>
            <a:r>
              <a:rPr lang="en-US" sz="600">
                <a:solidFill>
                  <a:srgbClr val="DDE9EC"/>
                </a:solidFill>
                <a:cs typeface="Arial" pitchFamily="34" charset="0"/>
              </a:rPr>
              <a:t>This document forms part of an oral presentation and should not be reproduced or distributed without prior permission</a:t>
            </a:r>
          </a:p>
        </p:txBody>
      </p:sp>
      <p:sp>
        <p:nvSpPr>
          <p:cNvPr id="7" name="Rectangle 6"/>
          <p:cNvSpPr/>
          <p:nvPr/>
        </p:nvSpPr>
        <p:spPr>
          <a:xfrm>
            <a:off x="2590800" y="4191000"/>
            <a:ext cx="228600" cy="1143000"/>
          </a:xfrm>
          <a:prstGeom prst="rect">
            <a:avLst/>
          </a:prstGeom>
          <a:solidFill>
            <a:srgbClr val="FCEA04"/>
          </a:solidFill>
          <a:ln w="6350" cap="rnd" cmpd="sng" algn="ctr">
            <a:solidFill>
              <a:schemeClr val="accent3"/>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350" dirty="0">
              <a:solidFill>
                <a:srgbClr val="FFFFFF"/>
              </a:solidFill>
            </a:endParaRPr>
          </a:p>
        </p:txBody>
      </p:sp>
      <p:sp>
        <p:nvSpPr>
          <p:cNvPr id="9" name="Rectangle 8"/>
          <p:cNvSpPr/>
          <p:nvPr/>
        </p:nvSpPr>
        <p:spPr>
          <a:xfrm>
            <a:off x="2587628" y="4191000"/>
            <a:ext cx="6257925" cy="1143000"/>
          </a:xfrm>
          <a:prstGeom prst="rect">
            <a:avLst/>
          </a:prstGeom>
          <a:noFill/>
          <a:ln w="6350" cap="rnd" cmpd="sng" algn="ctr">
            <a:solidFill>
              <a:srgbClr val="FCEA04"/>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350" dirty="0">
              <a:solidFill>
                <a:srgbClr val="FFFFFF"/>
              </a:solidFill>
            </a:endParaRPr>
          </a:p>
        </p:txBody>
      </p:sp>
      <p:pic>
        <p:nvPicPr>
          <p:cNvPr id="10"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055938" y="1981200"/>
            <a:ext cx="5554662"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ctrTitle"/>
          </p:nvPr>
        </p:nvSpPr>
        <p:spPr>
          <a:xfrm>
            <a:off x="2895601" y="4267200"/>
            <a:ext cx="5867399" cy="990600"/>
          </a:xfrm>
          <a:prstGeom prst="rect">
            <a:avLst/>
          </a:prstGeom>
        </p:spPr>
        <p:txBody>
          <a:bodyPr anchor="t" anchorCtr="0">
            <a:normAutofit/>
          </a:bodyPr>
          <a:lstStyle>
            <a:lvl1pPr algn="r">
              <a:defRPr sz="1800" b="1">
                <a:solidFill>
                  <a:schemeClr val="tx1">
                    <a:lumMod val="95000"/>
                    <a:lumOff val="5000"/>
                  </a:schemeClr>
                </a:solidFill>
                <a:latin typeface="Arial" pitchFamily="34" charset="0"/>
                <a:cs typeface="Arial" pitchFamily="34" charset="0"/>
              </a:defRPr>
            </a:lvl1pPr>
          </a:lstStyle>
          <a:p>
            <a:r>
              <a:rPr lang="en-US" dirty="0"/>
              <a:t>Click to edit Master title style</a:t>
            </a:r>
          </a:p>
        </p:txBody>
      </p:sp>
    </p:spTree>
    <p:extLst>
      <p:ext uri="{BB962C8B-B14F-4D97-AF65-F5344CB8AC3E}">
        <p14:creationId xmlns:p14="http://schemas.microsoft.com/office/powerpoint/2010/main" val="7067639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Rectangle 11"/>
          <p:cNvSpPr>
            <a:spLocks noGrp="1" noChangeArrowheads="1"/>
          </p:cNvSpPr>
          <p:nvPr>
            <p:ph type="sldNum" sz="quarter" idx="10"/>
          </p:nvPr>
        </p:nvSpPr>
        <p:spPr>
          <a:xfrm>
            <a:off x="7010400" y="6416679"/>
            <a:ext cx="1981200" cy="365125"/>
          </a:xfrm>
          <a:prstGeom prst="rect">
            <a:avLst/>
          </a:prstGeom>
          <a:ln/>
        </p:spPr>
        <p:txBody>
          <a:bodyPr/>
          <a:lstStyle>
            <a:lvl1pPr>
              <a:defRPr/>
            </a:lvl1pPr>
          </a:lstStyle>
          <a:p>
            <a:pPr>
              <a:defRPr/>
            </a:pPr>
            <a:fld id="{49E49FC0-51EF-4679-B14D-8597D0FB8DDD}" type="slidenum">
              <a:rPr lang="en-US"/>
              <a:pPr>
                <a:defRPr/>
              </a:pPr>
              <a:t>‹#›</a:t>
            </a:fld>
            <a:endParaRPr lang="en-US" dirty="0"/>
          </a:p>
        </p:txBody>
      </p:sp>
      <p:sp>
        <p:nvSpPr>
          <p:cNvPr id="3" name="Rectangle 2"/>
          <p:cNvSpPr/>
          <p:nvPr userDrawn="1"/>
        </p:nvSpPr>
        <p:spPr>
          <a:xfrm>
            <a:off x="-36004" y="6442266"/>
            <a:ext cx="9144000" cy="415736"/>
          </a:xfrm>
          <a:prstGeom prst="rect">
            <a:avLst/>
          </a:prstGeom>
          <a:gradFill flip="none" rotWithShape="1">
            <a:gsLst>
              <a:gs pos="0">
                <a:srgbClr val="1E9500"/>
              </a:gs>
              <a:gs pos="78000">
                <a:schemeClr val="accent2"/>
              </a:gs>
            </a:gsLst>
            <a:lin ang="0" scaled="1"/>
            <a:tileRect/>
          </a:gra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lIns="189049" anchor="ctr"/>
          <a:lstStyle/>
          <a:p>
            <a:pPr algn="l" fontAlgn="auto">
              <a:spcBef>
                <a:spcPts val="0"/>
              </a:spcBef>
              <a:spcAft>
                <a:spcPts val="0"/>
              </a:spcAft>
              <a:defRPr/>
            </a:pPr>
            <a:endParaRPr lang="en-GB" sz="900" noProof="0" dirty="0">
              <a:latin typeface="Trebuchet MS"/>
              <a:cs typeface="Trebuchet MS"/>
            </a:endParaRPr>
          </a:p>
        </p:txBody>
      </p:sp>
      <p:cxnSp>
        <p:nvCxnSpPr>
          <p:cNvPr id="5" name="Straight Connector 4"/>
          <p:cNvCxnSpPr/>
          <p:nvPr userDrawn="1"/>
        </p:nvCxnSpPr>
        <p:spPr>
          <a:xfrm>
            <a:off x="228600" y="1056754"/>
            <a:ext cx="8686800" cy="1"/>
          </a:xfrm>
          <a:prstGeom prst="line">
            <a:avLst/>
          </a:prstGeom>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6" name="Title 2"/>
          <p:cNvSpPr>
            <a:spLocks noGrp="1"/>
          </p:cNvSpPr>
          <p:nvPr>
            <p:ph type="title"/>
          </p:nvPr>
        </p:nvSpPr>
        <p:spPr>
          <a:xfrm>
            <a:off x="228601" y="260648"/>
            <a:ext cx="6242538" cy="796104"/>
          </a:xfrm>
          <a:prstGeom prst="rect">
            <a:avLst/>
          </a:prstGeom>
        </p:spPr>
        <p:txBody>
          <a:bodyPr/>
          <a:lstStyle>
            <a:lvl1pPr>
              <a:defRPr sz="2251" b="1">
                <a:solidFill>
                  <a:schemeClr val="tx1"/>
                </a:solidFill>
                <a:latin typeface="Arial"/>
                <a:cs typeface="Arial"/>
              </a:defRPr>
            </a:lvl1pPr>
          </a:lstStyle>
          <a:p>
            <a:r>
              <a:rPr lang="en-US" noProof="0" dirty="0"/>
              <a:t>Click to edit Master title style</a:t>
            </a:r>
            <a:endParaRPr lang="en-GB" noProof="0" dirty="0"/>
          </a:p>
        </p:txBody>
      </p:sp>
      <p:sp>
        <p:nvSpPr>
          <p:cNvPr id="7" name="Straight Connector 6"/>
          <p:cNvSpPr>
            <a:spLocks noChangeShapeType="1"/>
          </p:cNvSpPr>
          <p:nvPr userDrawn="1"/>
        </p:nvSpPr>
        <p:spPr bwMode="auto">
          <a:xfrm>
            <a:off x="228600" y="1106992"/>
            <a:ext cx="8686800" cy="0"/>
          </a:xfrm>
          <a:prstGeom prst="line">
            <a:avLst/>
          </a:prstGeom>
          <a:ln w="31750">
            <a:headEnd type="none" w="med" len="med"/>
            <a:tailEnd type="none" w="med" len="med"/>
          </a:ln>
        </p:spPr>
        <p:style>
          <a:lnRef idx="1">
            <a:schemeClr val="accent5"/>
          </a:lnRef>
          <a:fillRef idx="0">
            <a:schemeClr val="accent5"/>
          </a:fillRef>
          <a:effectRef idx="0">
            <a:schemeClr val="accent5"/>
          </a:effectRef>
          <a:fontRef idx="minor">
            <a:schemeClr val="tx1"/>
          </a:fontRef>
        </p:style>
        <p:txBody>
          <a:bodyPr/>
          <a:lstStyle/>
          <a:p>
            <a:pPr eaLnBrk="1" fontAlgn="auto" hangingPunct="1">
              <a:spcBef>
                <a:spcPts val="0"/>
              </a:spcBef>
              <a:spcAft>
                <a:spcPts val="0"/>
              </a:spcAft>
              <a:defRPr/>
            </a:pPr>
            <a:endParaRPr lang="en-US" sz="1350" dirty="0">
              <a:ln>
                <a:solidFill>
                  <a:schemeClr val="tx1"/>
                </a:solidFill>
              </a:ln>
            </a:endParaRPr>
          </a:p>
        </p:txBody>
      </p:sp>
    </p:spTree>
    <p:extLst>
      <p:ext uri="{BB962C8B-B14F-4D97-AF65-F5344CB8AC3E}">
        <p14:creationId xmlns:p14="http://schemas.microsoft.com/office/powerpoint/2010/main" val="10664007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Click to edit Master title style</a:t>
            </a:r>
            <a:endParaRPr lang="en-US"/>
          </a:p>
        </p:txBody>
      </p:sp>
      <p:sp>
        <p:nvSpPr>
          <p:cNvPr id="3" name="Content Placeholder 2"/>
          <p:cNvSpPr>
            <a:spLocks noGrp="1"/>
          </p:cNvSpPr>
          <p:nvPr>
            <p:ph idx="1"/>
          </p:nvPr>
        </p:nvSpPr>
        <p:spPr/>
        <p:txBody>
          <a:bodyPr/>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
        <p:nvSpPr>
          <p:cNvPr id="4" name="Date Placeholder 3"/>
          <p:cNvSpPr>
            <a:spLocks noGrp="1"/>
          </p:cNvSpPr>
          <p:nvPr>
            <p:ph type="dt" sz="half" idx="10"/>
          </p:nvPr>
        </p:nvSpPr>
        <p:spPr/>
        <p:txBody>
          <a:bodyPr/>
          <a:lstStyle/>
          <a:p>
            <a:fld id="{15F9B336-E1E0-DD49-9F93-176B0BE6C123}" type="datetime1">
              <a:rPr lang="en-US" smtClean="0"/>
              <a:t>10/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5013A8-F3E1-2C42-B42A-3ED798E2D4A7}" type="slidenum">
              <a:rPr lang="en-US" smtClean="0"/>
              <a:t>‹#›</a:t>
            </a:fld>
            <a:endParaRPr lang="en-US"/>
          </a:p>
        </p:txBody>
      </p:sp>
    </p:spTree>
    <p:extLst>
      <p:ext uri="{BB962C8B-B14F-4D97-AF65-F5344CB8AC3E}">
        <p14:creationId xmlns:p14="http://schemas.microsoft.com/office/powerpoint/2010/main" val="28588549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tr-TR"/>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a:t>Click to edit Master text styles</a:t>
            </a:r>
          </a:p>
        </p:txBody>
      </p:sp>
      <p:sp>
        <p:nvSpPr>
          <p:cNvPr id="4" name="Date Placeholder 3"/>
          <p:cNvSpPr>
            <a:spLocks noGrp="1"/>
          </p:cNvSpPr>
          <p:nvPr>
            <p:ph type="dt" sz="half" idx="10"/>
          </p:nvPr>
        </p:nvSpPr>
        <p:spPr/>
        <p:txBody>
          <a:bodyPr/>
          <a:lstStyle/>
          <a:p>
            <a:fld id="{026D0E34-E4CD-394E-AF5D-B4AE89A832CB}" type="datetime1">
              <a:rPr lang="en-US" smtClean="0"/>
              <a:t>10/2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5013A8-F3E1-2C42-B42A-3ED798E2D4A7}" type="slidenum">
              <a:rPr lang="en-US" smtClean="0"/>
              <a:t>‹#›</a:t>
            </a:fld>
            <a:endParaRPr lang="en-US"/>
          </a:p>
        </p:txBody>
      </p:sp>
    </p:spTree>
    <p:extLst>
      <p:ext uri="{BB962C8B-B14F-4D97-AF65-F5344CB8AC3E}">
        <p14:creationId xmlns:p14="http://schemas.microsoft.com/office/powerpoint/2010/main" val="15308119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
        <p:nvSpPr>
          <p:cNvPr id="5" name="Date Placeholder 4"/>
          <p:cNvSpPr>
            <a:spLocks noGrp="1"/>
          </p:cNvSpPr>
          <p:nvPr>
            <p:ph type="dt" sz="half" idx="10"/>
          </p:nvPr>
        </p:nvSpPr>
        <p:spPr/>
        <p:txBody>
          <a:bodyPr/>
          <a:lstStyle/>
          <a:p>
            <a:fld id="{871C3BD6-5F8F-9842-86E7-BFE1C417F43A}" type="datetime1">
              <a:rPr lang="en-US" smtClean="0"/>
              <a:t>10/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A5013A8-F3E1-2C42-B42A-3ED798E2D4A7}" type="slidenum">
              <a:rPr lang="en-US" smtClean="0"/>
              <a:t>‹#›</a:t>
            </a:fld>
            <a:endParaRPr lang="en-US"/>
          </a:p>
        </p:txBody>
      </p:sp>
    </p:spTree>
    <p:extLst>
      <p:ext uri="{BB962C8B-B14F-4D97-AF65-F5344CB8AC3E}">
        <p14:creationId xmlns:p14="http://schemas.microsoft.com/office/powerpoint/2010/main" val="42560770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tr-TR"/>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
        <p:nvSpPr>
          <p:cNvPr id="7" name="Date Placeholder 6"/>
          <p:cNvSpPr>
            <a:spLocks noGrp="1"/>
          </p:cNvSpPr>
          <p:nvPr>
            <p:ph type="dt" sz="half" idx="10"/>
          </p:nvPr>
        </p:nvSpPr>
        <p:spPr/>
        <p:txBody>
          <a:bodyPr/>
          <a:lstStyle/>
          <a:p>
            <a:fld id="{19539302-F799-6343-AC48-3DB2680BA9B1}" type="datetime1">
              <a:rPr lang="en-US" smtClean="0"/>
              <a:t>10/22/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A5013A8-F3E1-2C42-B42A-3ED798E2D4A7}" type="slidenum">
              <a:rPr lang="en-US" smtClean="0"/>
              <a:t>‹#›</a:t>
            </a:fld>
            <a:endParaRPr lang="en-US"/>
          </a:p>
        </p:txBody>
      </p:sp>
    </p:spTree>
    <p:extLst>
      <p:ext uri="{BB962C8B-B14F-4D97-AF65-F5344CB8AC3E}">
        <p14:creationId xmlns:p14="http://schemas.microsoft.com/office/powerpoint/2010/main" val="1203414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a:t>Click to edit Master title style</a:t>
            </a:r>
            <a:endParaRPr lang="en-US"/>
          </a:p>
        </p:txBody>
      </p:sp>
      <p:sp>
        <p:nvSpPr>
          <p:cNvPr id="3" name="Date Placeholder 2"/>
          <p:cNvSpPr>
            <a:spLocks noGrp="1"/>
          </p:cNvSpPr>
          <p:nvPr>
            <p:ph type="dt" sz="half" idx="10"/>
          </p:nvPr>
        </p:nvSpPr>
        <p:spPr/>
        <p:txBody>
          <a:bodyPr/>
          <a:lstStyle/>
          <a:p>
            <a:fld id="{8D47210A-F27F-804B-A349-7848799ADA73}" type="datetime1">
              <a:rPr lang="en-US" smtClean="0"/>
              <a:t>10/22/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A5013A8-F3E1-2C42-B42A-3ED798E2D4A7}" type="slidenum">
              <a:rPr lang="en-US" smtClean="0"/>
              <a:t>‹#›</a:t>
            </a:fld>
            <a:endParaRPr lang="en-US"/>
          </a:p>
        </p:txBody>
      </p:sp>
    </p:spTree>
    <p:extLst>
      <p:ext uri="{BB962C8B-B14F-4D97-AF65-F5344CB8AC3E}">
        <p14:creationId xmlns:p14="http://schemas.microsoft.com/office/powerpoint/2010/main" val="3780320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C23C099-1E09-BC47-A4B4-CF87C15C34E6}" type="datetime1">
              <a:rPr lang="en-US" smtClean="0"/>
              <a:t>10/22/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A5013A8-F3E1-2C42-B42A-3ED798E2D4A7}" type="slidenum">
              <a:rPr lang="en-US" smtClean="0"/>
              <a:t>‹#›</a:t>
            </a:fld>
            <a:endParaRPr lang="en-US"/>
          </a:p>
        </p:txBody>
      </p:sp>
    </p:spTree>
    <p:extLst>
      <p:ext uri="{BB962C8B-B14F-4D97-AF65-F5344CB8AC3E}">
        <p14:creationId xmlns:p14="http://schemas.microsoft.com/office/powerpoint/2010/main" val="23056303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tr-TR"/>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a:t>Click to edit Master text styles</a:t>
            </a:r>
          </a:p>
        </p:txBody>
      </p:sp>
      <p:sp>
        <p:nvSpPr>
          <p:cNvPr id="5" name="Date Placeholder 4"/>
          <p:cNvSpPr>
            <a:spLocks noGrp="1"/>
          </p:cNvSpPr>
          <p:nvPr>
            <p:ph type="dt" sz="half" idx="10"/>
          </p:nvPr>
        </p:nvSpPr>
        <p:spPr/>
        <p:txBody>
          <a:bodyPr/>
          <a:lstStyle/>
          <a:p>
            <a:fld id="{CC780046-868E-7F43-9E37-6595EF4DD971}" type="datetime1">
              <a:rPr lang="en-US" smtClean="0"/>
              <a:t>10/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A5013A8-F3E1-2C42-B42A-3ED798E2D4A7}" type="slidenum">
              <a:rPr lang="en-US" smtClean="0"/>
              <a:t>‹#›</a:t>
            </a:fld>
            <a:endParaRPr lang="en-US"/>
          </a:p>
        </p:txBody>
      </p:sp>
    </p:spTree>
    <p:extLst>
      <p:ext uri="{BB962C8B-B14F-4D97-AF65-F5344CB8AC3E}">
        <p14:creationId xmlns:p14="http://schemas.microsoft.com/office/powerpoint/2010/main" val="3439539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tr-TR"/>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a:t>Click to edit Master text styles</a:t>
            </a:r>
          </a:p>
        </p:txBody>
      </p:sp>
      <p:sp>
        <p:nvSpPr>
          <p:cNvPr id="5" name="Date Placeholder 4"/>
          <p:cNvSpPr>
            <a:spLocks noGrp="1"/>
          </p:cNvSpPr>
          <p:nvPr>
            <p:ph type="dt" sz="half" idx="10"/>
          </p:nvPr>
        </p:nvSpPr>
        <p:spPr/>
        <p:txBody>
          <a:bodyPr/>
          <a:lstStyle/>
          <a:p>
            <a:fld id="{7C62636F-23FD-4E4D-BB68-5C72C1C434ED}" type="datetime1">
              <a:rPr lang="en-US" smtClean="0"/>
              <a:t>10/2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A5013A8-F3E1-2C42-B42A-3ED798E2D4A7}" type="slidenum">
              <a:rPr lang="en-US" smtClean="0"/>
              <a:t>‹#›</a:t>
            </a:fld>
            <a:endParaRPr lang="en-US"/>
          </a:p>
        </p:txBody>
      </p:sp>
    </p:spTree>
    <p:extLst>
      <p:ext uri="{BB962C8B-B14F-4D97-AF65-F5344CB8AC3E}">
        <p14:creationId xmlns:p14="http://schemas.microsoft.com/office/powerpoint/2010/main" val="11256182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tr-TR"/>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23F390-E390-F74F-B985-C52B4511AC4C}" type="datetime1">
              <a:rPr lang="en-US" smtClean="0"/>
              <a:t>10/22/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5013A8-F3E1-2C42-B42A-3ED798E2D4A7}" type="slidenum">
              <a:rPr lang="en-US" smtClean="0"/>
              <a:t>‹#›</a:t>
            </a:fld>
            <a:endParaRPr lang="en-US"/>
          </a:p>
        </p:txBody>
      </p:sp>
    </p:spTree>
    <p:extLst>
      <p:ext uri="{BB962C8B-B14F-4D97-AF65-F5344CB8AC3E}">
        <p14:creationId xmlns:p14="http://schemas.microsoft.com/office/powerpoint/2010/main" val="30767204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3.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4.jpeg"/><Relationship Id="rId5" Type="http://schemas.openxmlformats.org/officeDocument/2006/relationships/chart" Target="../charts/chart1.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8.xml"/><Relationship Id="rId7" Type="http://schemas.openxmlformats.org/officeDocument/2006/relationships/image" Target="../media/image18.png"/><Relationship Id="rId12" Type="http://schemas.openxmlformats.org/officeDocument/2006/relationships/image" Target="../media/image17.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notesSlide" Target="../notesSlides/notesSlide8.xml"/><Relationship Id="rId11" Type="http://schemas.openxmlformats.org/officeDocument/2006/relationships/oleObject" Target="../embeddings/oleObject5.bin"/><Relationship Id="rId5" Type="http://schemas.openxmlformats.org/officeDocument/2006/relationships/slideLayout" Target="../slideLayouts/slideLayout1.xml"/><Relationship Id="rId10" Type="http://schemas.openxmlformats.org/officeDocument/2006/relationships/image" Target="../media/image21.png"/><Relationship Id="rId4" Type="http://schemas.openxmlformats.org/officeDocument/2006/relationships/tags" Target="../tags/tag9.xml"/><Relationship Id="rId9"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image" Target="../media/image22.emf"/><Relationship Id="rId3" Type="http://schemas.openxmlformats.org/officeDocument/2006/relationships/tags" Target="../tags/tag14.xml"/><Relationship Id="rId21" Type="http://schemas.openxmlformats.org/officeDocument/2006/relationships/image" Target="../media/image23.png"/><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oleObject" Target="../embeddings/oleObject6.bin"/><Relationship Id="rId2" Type="http://schemas.openxmlformats.org/officeDocument/2006/relationships/tags" Target="../tags/tag13.xml"/><Relationship Id="rId16" Type="http://schemas.openxmlformats.org/officeDocument/2006/relationships/notesSlide" Target="../notesSlides/notesSlide9.xml"/><Relationship Id="rId20" Type="http://schemas.openxmlformats.org/officeDocument/2006/relationships/image" Target="../media/image19.jpeg"/><Relationship Id="rId1" Type="http://schemas.openxmlformats.org/officeDocument/2006/relationships/vmlDrawing" Target="../drawings/vmlDrawing5.v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slideLayout" Target="../slideLayouts/slideLayout1.xml"/><Relationship Id="rId10" Type="http://schemas.openxmlformats.org/officeDocument/2006/relationships/tags" Target="../tags/tag21.xml"/><Relationship Id="rId19" Type="http://schemas.openxmlformats.org/officeDocument/2006/relationships/image" Target="../media/image18.png"/><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image" Target="../media/image24.png"/></Relationships>
</file>

<file path=ppt/slides/_rels/slide15.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image" Target="../media/image19.jpeg"/><Relationship Id="rId3" Type="http://schemas.openxmlformats.org/officeDocument/2006/relationships/tags" Target="../tags/tag27.xml"/><Relationship Id="rId21" Type="http://schemas.openxmlformats.org/officeDocument/2006/relationships/image" Target="../media/image26.jpeg"/><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image" Target="../media/image22.emf"/><Relationship Id="rId2" Type="http://schemas.openxmlformats.org/officeDocument/2006/relationships/tags" Target="../tags/tag26.xml"/><Relationship Id="rId16" Type="http://schemas.openxmlformats.org/officeDocument/2006/relationships/oleObject" Target="../embeddings/oleObject7.bin"/><Relationship Id="rId20" Type="http://schemas.openxmlformats.org/officeDocument/2006/relationships/image" Target="../media/image25.png"/><Relationship Id="rId1" Type="http://schemas.openxmlformats.org/officeDocument/2006/relationships/vmlDrawing" Target="../drawings/vmlDrawing6.v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notesSlide" Target="../notesSlides/notesSlide10.xml"/><Relationship Id="rId10" Type="http://schemas.openxmlformats.org/officeDocument/2006/relationships/tags" Target="../tags/tag34.xml"/><Relationship Id="rId19" Type="http://schemas.openxmlformats.org/officeDocument/2006/relationships/image" Target="../media/image18.png"/><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slideLayout" Target="../slideLayouts/slideLayout1.xml"/><Relationship Id="rId18" Type="http://schemas.openxmlformats.org/officeDocument/2006/relationships/image" Target="../media/image18.png"/><Relationship Id="rId3" Type="http://schemas.openxmlformats.org/officeDocument/2006/relationships/tags" Target="../tags/tag39.xml"/><Relationship Id="rId21" Type="http://schemas.openxmlformats.org/officeDocument/2006/relationships/image" Target="../media/image29.jpe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19.jpeg"/><Relationship Id="rId2" Type="http://schemas.openxmlformats.org/officeDocument/2006/relationships/tags" Target="../tags/tag38.xml"/><Relationship Id="rId16" Type="http://schemas.openxmlformats.org/officeDocument/2006/relationships/image" Target="../media/image22.emf"/><Relationship Id="rId20" Type="http://schemas.openxmlformats.org/officeDocument/2006/relationships/image" Target="../media/image28.png"/><Relationship Id="rId1" Type="http://schemas.openxmlformats.org/officeDocument/2006/relationships/vmlDrawing" Target="../drawings/vmlDrawing7.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oleObject" Target="../embeddings/oleObject8.bin"/><Relationship Id="rId10" Type="http://schemas.openxmlformats.org/officeDocument/2006/relationships/tags" Target="../tags/tag46.xml"/><Relationship Id="rId19" Type="http://schemas.openxmlformats.org/officeDocument/2006/relationships/image" Target="../media/image27.jpeg"/><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92" y="857772"/>
          <a:ext cx="1191" cy="1191"/>
        </p:xfrm>
        <a:graphic>
          <a:graphicData uri="http://schemas.openxmlformats.org/presentationml/2006/ole">
            <mc:AlternateContent xmlns:mc="http://schemas.openxmlformats.org/markup-compatibility/2006">
              <mc:Choice xmlns:v="urn:schemas-microsoft-com:vml" Requires="v">
                <p:oleObj spid="_x0000_s310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2" y="857772"/>
                        <a:ext cx="1191" cy="1191"/>
                      </a:xfrm>
                      <a:prstGeom prst="rect">
                        <a:avLst/>
                      </a:prstGeom>
                    </p:spPr>
                  </p:pic>
                </p:oleObj>
              </mc:Fallback>
            </mc:AlternateContent>
          </a:graphicData>
        </a:graphic>
      </p:graphicFrame>
      <p:sp>
        <p:nvSpPr>
          <p:cNvPr id="4" name="TextBox 3"/>
          <p:cNvSpPr txBox="1"/>
          <p:nvPr/>
        </p:nvSpPr>
        <p:spPr>
          <a:xfrm>
            <a:off x="86935" y="5470367"/>
            <a:ext cx="4365938" cy="323165"/>
          </a:xfrm>
          <a:prstGeom prst="rect">
            <a:avLst/>
          </a:prstGeom>
          <a:noFill/>
        </p:spPr>
        <p:txBody>
          <a:bodyPr wrap="square" rtlCol="0">
            <a:spAutoFit/>
          </a:bodyPr>
          <a:lstStyle/>
          <a:p>
            <a:endParaRPr lang="en-US" sz="1500" b="1" dirty="0">
              <a:solidFill>
                <a:prstClr val="white"/>
              </a:solidFill>
            </a:endParaRPr>
          </a:p>
        </p:txBody>
      </p:sp>
      <p:sp>
        <p:nvSpPr>
          <p:cNvPr id="2" name="Title 1"/>
          <p:cNvSpPr>
            <a:spLocks noGrp="1"/>
          </p:cNvSpPr>
          <p:nvPr>
            <p:ph type="ctrTitle"/>
          </p:nvPr>
        </p:nvSpPr>
        <p:spPr/>
        <p:txBody>
          <a:bodyPr/>
          <a:lstStyle/>
          <a:p>
            <a:endParaRPr lang="en-US" dirty="0"/>
          </a:p>
        </p:txBody>
      </p:sp>
      <p:pic>
        <p:nvPicPr>
          <p:cNvPr id="8" name="Picture Placeholder 5"/>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414588" y="-428625"/>
            <a:ext cx="14716125" cy="8201025"/>
          </a:xfrm>
          <a:prstGeom prst="rect">
            <a:avLst/>
          </a:prstGeom>
          <a:solidFill>
            <a:srgbClr val="595959"/>
          </a:solidFill>
        </p:spPr>
      </p:pic>
      <p:sp>
        <p:nvSpPr>
          <p:cNvPr id="9" name="Text Placeholder 4"/>
          <p:cNvSpPr txBox="1">
            <a:spLocks/>
          </p:cNvSpPr>
          <p:nvPr/>
        </p:nvSpPr>
        <p:spPr>
          <a:xfrm>
            <a:off x="5145135" y="5873245"/>
            <a:ext cx="3944377" cy="346562"/>
          </a:xfrm>
          <a:prstGeom prst="rect">
            <a:avLst/>
          </a:prstGeom>
          <a:solidFill>
            <a:srgbClr val="595959"/>
          </a:solidFill>
          <a:ln>
            <a:noFill/>
          </a:ln>
          <a:effectLst/>
        </p:spPr>
        <p:txBody>
          <a:bodyPr vert="horz" lIns="68598" tIns="34299" rIns="68598" bIns="34299" rtlCol="0">
            <a:normAutofit fontScale="92500" lnSpcReduction="20000"/>
          </a:bodyPr>
          <a:lstStyle>
            <a:lvl1pPr marL="342900" indent="-342900" algn="l" defTabSz="457200" rtl="0" eaLnBrk="1" latinLnBrk="0" hangingPunct="1">
              <a:spcBef>
                <a:spcPct val="20000"/>
              </a:spcBef>
              <a:buFont typeface="Arial"/>
              <a:buChar char="•"/>
              <a:defRPr sz="3200" kern="1200">
                <a:solidFill>
                  <a:schemeClr val="tx1"/>
                </a:solidFill>
                <a:latin typeface="Andale Mono"/>
                <a:ea typeface="+mn-ea"/>
                <a:cs typeface="Andale Mono"/>
              </a:defRPr>
            </a:lvl1pPr>
            <a:lvl2pPr marL="457200" indent="0" algn="l" defTabSz="457200" rtl="0" eaLnBrk="1" latinLnBrk="0" hangingPunct="1">
              <a:spcBef>
                <a:spcPct val="20000"/>
              </a:spcBef>
              <a:buFont typeface="Arial"/>
              <a:buNone/>
              <a:defRPr sz="2800" kern="1200">
                <a:solidFill>
                  <a:srgbClr val="FFFFFF"/>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342991">
              <a:buNone/>
              <a:defRPr/>
            </a:pPr>
            <a:r>
              <a:rPr lang="ru-RU" sz="2401" dirty="0">
                <a:solidFill>
                  <a:srgbClr val="FFFFFF"/>
                </a:solidFill>
              </a:rPr>
              <a:t>ВЕДЕНИЕ БИЗНЕСА В РУАНДЕ </a:t>
            </a:r>
            <a:endParaRPr lang="en-US" sz="2401" dirty="0">
              <a:solidFill>
                <a:srgbClr val="FFFFFF"/>
              </a:solidFill>
            </a:endParaRPr>
          </a:p>
        </p:txBody>
      </p:sp>
      <p:pic>
        <p:nvPicPr>
          <p:cNvPr id="10" name="Picture 9"/>
          <p:cNvPicPr/>
          <p:nvPr/>
        </p:nvPicPr>
        <p:blipFill>
          <a:blip r:embed="rId8"/>
          <a:srcRect/>
          <a:stretch>
            <a:fillRect/>
          </a:stretch>
        </p:blipFill>
        <p:spPr bwMode="auto">
          <a:xfrm>
            <a:off x="7030090" y="6442121"/>
            <a:ext cx="1965043" cy="321552"/>
          </a:xfrm>
          <a:prstGeom prst="rect">
            <a:avLst/>
          </a:prstGeom>
          <a:noFill/>
          <a:ln w="9525">
            <a:noFill/>
            <a:miter lim="800000"/>
            <a:headEnd/>
            <a:tailEnd/>
          </a:ln>
        </p:spPr>
      </p:pic>
    </p:spTree>
    <p:extLst>
      <p:ext uri="{BB962C8B-B14F-4D97-AF65-F5344CB8AC3E}">
        <p14:creationId xmlns:p14="http://schemas.microsoft.com/office/powerpoint/2010/main" val="4921743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129A0-17F3-46EE-92BC-3DA4C4FE0428}"/>
              </a:ext>
            </a:extLst>
          </p:cNvPr>
          <p:cNvSpPr>
            <a:spLocks noGrp="1"/>
          </p:cNvSpPr>
          <p:nvPr>
            <p:ph type="title"/>
          </p:nvPr>
        </p:nvSpPr>
        <p:spPr>
          <a:xfrm>
            <a:off x="1266824" y="85726"/>
            <a:ext cx="6724651" cy="628650"/>
          </a:xfrm>
        </p:spPr>
        <p:txBody>
          <a:bodyPr>
            <a:noAutofit/>
          </a:bodyPr>
          <a:lstStyle/>
          <a:p>
            <a:pPr>
              <a:spcAft>
                <a:spcPts val="277"/>
              </a:spcAft>
              <a:defRPr/>
            </a:pPr>
            <a:r>
              <a:rPr lang="ru-RU" sz="1400" b="1" dirty="0">
                <a:solidFill>
                  <a:srgbClr val="007E01"/>
                </a:solidFill>
                <a:ea typeface="MS Gothic" charset="0"/>
                <a:cs typeface="Palatino"/>
              </a:rPr>
              <a:t>Руанда</a:t>
            </a:r>
            <a:br>
              <a:rPr lang="en-GB" sz="1400" b="1" dirty="0">
                <a:solidFill>
                  <a:srgbClr val="007E01"/>
                </a:solidFill>
                <a:ea typeface="MS Gothic" charset="0"/>
                <a:cs typeface="Palatino"/>
              </a:rPr>
            </a:br>
            <a:r>
              <a:rPr lang="ru-RU" sz="1400" b="1" i="1" dirty="0">
                <a:solidFill>
                  <a:schemeClr val="accent3">
                    <a:lumMod val="75000"/>
                  </a:schemeClr>
                </a:solidFill>
                <a:ea typeface="MS Gothic" charset="0"/>
                <a:cs typeface="Palatino"/>
              </a:rPr>
              <a:t>Отличные условия для производства высококачественной с/х продукции</a:t>
            </a:r>
            <a:br>
              <a:rPr lang="en-GB" sz="1400" b="1" i="1" dirty="0">
                <a:solidFill>
                  <a:schemeClr val="accent3">
                    <a:lumMod val="75000"/>
                  </a:schemeClr>
                </a:solidFill>
                <a:ea typeface="MS Gothic" charset="0"/>
                <a:cs typeface="Palatino"/>
              </a:rPr>
            </a:br>
            <a:r>
              <a:rPr lang="ru-RU" sz="1400" b="1" cap="all" dirty="0">
                <a:solidFill>
                  <a:schemeClr val="accent3">
                    <a:lumMod val="75000"/>
                  </a:schemeClr>
                </a:solidFill>
                <a:ea typeface="MS Gothic" charset="0"/>
                <a:cs typeface="Palatino"/>
              </a:rPr>
              <a:t>Возможности инвестирования</a:t>
            </a:r>
            <a:r>
              <a:rPr lang="en-GB" sz="1400" b="1" cap="all" dirty="0">
                <a:solidFill>
                  <a:schemeClr val="accent3">
                    <a:lumMod val="75000"/>
                  </a:schemeClr>
                </a:solidFill>
                <a:ea typeface="MS Gothic" charset="0"/>
                <a:cs typeface="Palatino"/>
              </a:rPr>
              <a:t>: </a:t>
            </a:r>
            <a:r>
              <a:rPr lang="ru-RU" sz="1400" b="1" i="1" dirty="0">
                <a:solidFill>
                  <a:schemeClr val="accent3">
                    <a:lumMod val="75000"/>
                  </a:schemeClr>
                </a:solidFill>
                <a:ea typeface="MS Gothic" charset="0"/>
                <a:cs typeface="Palatino"/>
              </a:rPr>
              <a:t>С/Х </a:t>
            </a:r>
            <a:r>
              <a:rPr lang="ru-RU" sz="1400" b="1" cap="all" dirty="0">
                <a:solidFill>
                  <a:schemeClr val="accent3">
                    <a:lumMod val="75000"/>
                  </a:schemeClr>
                </a:solidFill>
                <a:ea typeface="MS Gothic" charset="0"/>
                <a:cs typeface="Palatino"/>
              </a:rPr>
              <a:t>Экспорт </a:t>
            </a:r>
            <a:r>
              <a:rPr lang="ru-RU" sz="1400" b="1" i="1" dirty="0">
                <a:solidFill>
                  <a:schemeClr val="accent3">
                    <a:lumMod val="75000"/>
                  </a:schemeClr>
                </a:solidFill>
                <a:ea typeface="MS Gothic" charset="0"/>
                <a:cs typeface="Palatino"/>
              </a:rPr>
              <a:t>продукции</a:t>
            </a:r>
            <a:endParaRPr lang="en-US" sz="1400" dirty="0">
              <a:solidFill>
                <a:schemeClr val="accent3">
                  <a:lumMod val="75000"/>
                </a:schemeClr>
              </a:solidFill>
            </a:endParaRPr>
          </a:p>
        </p:txBody>
      </p:sp>
      <p:sp>
        <p:nvSpPr>
          <p:cNvPr id="3" name="Content Placeholder 2">
            <a:extLst>
              <a:ext uri="{FF2B5EF4-FFF2-40B4-BE49-F238E27FC236}">
                <a16:creationId xmlns:a16="http://schemas.microsoft.com/office/drawing/2014/main" id="{A29E8C84-2A4C-4DFB-8B30-8FFCEDDF7BFB}"/>
              </a:ext>
            </a:extLst>
          </p:cNvPr>
          <p:cNvSpPr>
            <a:spLocks noGrp="1"/>
          </p:cNvSpPr>
          <p:nvPr>
            <p:ph idx="1"/>
          </p:nvPr>
        </p:nvSpPr>
        <p:spPr>
          <a:xfrm>
            <a:off x="457200" y="933450"/>
            <a:ext cx="8229600" cy="5192713"/>
          </a:xfrm>
        </p:spPr>
        <p:txBody>
          <a:bodyPr/>
          <a:lstStyle/>
          <a:p>
            <a:pPr algn="ctr"/>
            <a:r>
              <a:rPr lang="ru-RU" sz="1400" dirty="0"/>
              <a:t>Прекрасные климатические и погодные условия создают возможности инвестирования в с/х продукцию для экспорта в страны Европы и Среднего Востока и Азии</a:t>
            </a:r>
          </a:p>
          <a:p>
            <a:endParaRPr lang="en-US" dirty="0"/>
          </a:p>
        </p:txBody>
      </p:sp>
      <p:sp>
        <p:nvSpPr>
          <p:cNvPr id="4" name="Slide Number Placeholder 3">
            <a:extLst>
              <a:ext uri="{FF2B5EF4-FFF2-40B4-BE49-F238E27FC236}">
                <a16:creationId xmlns:a16="http://schemas.microsoft.com/office/drawing/2014/main" id="{952264F6-DFEB-425B-A970-BB4BF68AC2E3}"/>
              </a:ext>
            </a:extLst>
          </p:cNvPr>
          <p:cNvSpPr>
            <a:spLocks noGrp="1"/>
          </p:cNvSpPr>
          <p:nvPr>
            <p:ph type="sldNum" sz="quarter" idx="12"/>
          </p:nvPr>
        </p:nvSpPr>
        <p:spPr/>
        <p:txBody>
          <a:bodyPr/>
          <a:lstStyle/>
          <a:p>
            <a:fld id="{0A5013A8-F3E1-2C42-B42A-3ED798E2D4A7}" type="slidenum">
              <a:rPr lang="en-US" smtClean="0"/>
              <a:t>10</a:t>
            </a:fld>
            <a:endParaRPr lang="en-US"/>
          </a:p>
        </p:txBody>
      </p:sp>
      <p:sp>
        <p:nvSpPr>
          <p:cNvPr id="5" name="Text Placeholder 2">
            <a:extLst>
              <a:ext uri="{FF2B5EF4-FFF2-40B4-BE49-F238E27FC236}">
                <a16:creationId xmlns:a16="http://schemas.microsoft.com/office/drawing/2014/main" id="{04D93172-7969-4155-83D4-661DEDF4EB13}"/>
              </a:ext>
            </a:extLst>
          </p:cNvPr>
          <p:cNvSpPr txBox="1">
            <a:spLocks/>
          </p:cNvSpPr>
          <p:nvPr>
            <p:custDataLst>
              <p:tags r:id="rId1"/>
            </p:custDataLst>
          </p:nvPr>
        </p:nvSpPr>
        <p:spPr>
          <a:xfrm rot="16200000">
            <a:off x="240480" y="2244210"/>
            <a:ext cx="1583765" cy="293445"/>
          </a:xfrm>
          <a:prstGeom prst="rect">
            <a:avLst/>
          </a:prstGeom>
          <a:solidFill>
            <a:srgbClr val="007E01"/>
          </a:solidFill>
          <a:ln>
            <a:solidFill>
              <a:srgbClr val="008000"/>
            </a:solidFill>
          </a:ln>
        </p:spPr>
        <p:txBody>
          <a:bodyPr lIns="25322" tIns="12661" rIns="25322" bIns="12661" anchor="ctr"/>
          <a:lstStyle/>
          <a:p>
            <a:pPr marL="237390" indent="-237390" algn="ctr">
              <a:lnSpc>
                <a:spcPct val="120000"/>
              </a:lnSpc>
              <a:buClr>
                <a:srgbClr val="000000"/>
              </a:buClr>
              <a:buSzPct val="100000"/>
              <a:defRPr/>
            </a:pPr>
            <a:r>
              <a:rPr lang="ru-RU" sz="969" dirty="0">
                <a:effectLst>
                  <a:outerShdw blurRad="38100" dist="38100" dir="2700000" algn="tl">
                    <a:srgbClr val="000000"/>
                  </a:outerShdw>
                </a:effectLst>
                <a:latin typeface="Helvetica Neue" charset="0"/>
              </a:rPr>
              <a:t>РЫНОК</a:t>
            </a:r>
            <a:endParaRPr lang="en-GB" sz="969" dirty="0">
              <a:effectLst>
                <a:outerShdw blurRad="38100" dist="38100" dir="2700000" algn="tl">
                  <a:srgbClr val="000000"/>
                </a:outerShdw>
              </a:effectLst>
              <a:latin typeface="Helvetica Neue" charset="0"/>
            </a:endParaRPr>
          </a:p>
        </p:txBody>
      </p:sp>
      <p:pic>
        <p:nvPicPr>
          <p:cNvPr id="9" name="Picture 8">
            <a:extLst>
              <a:ext uri="{FF2B5EF4-FFF2-40B4-BE49-F238E27FC236}">
                <a16:creationId xmlns:a16="http://schemas.microsoft.com/office/drawing/2014/main" id="{B799AEE9-F0BB-45A9-A346-AE7EC9341F19}"/>
              </a:ext>
            </a:extLst>
          </p:cNvPr>
          <p:cNvPicPr>
            <a:picLocks noChangeAspect="1" noChangeArrowheads="1"/>
          </p:cNvPicPr>
          <p:nvPr/>
        </p:nvPicPr>
        <p:blipFill>
          <a:blip r:embed="rId4">
            <a:lum bright="2000"/>
          </a:blip>
          <a:srcRect/>
          <a:stretch>
            <a:fillRect/>
          </a:stretch>
        </p:blipFill>
        <p:spPr bwMode="auto">
          <a:xfrm>
            <a:off x="127316" y="4655712"/>
            <a:ext cx="1139508" cy="1390257"/>
          </a:xfrm>
          <a:prstGeom prst="rect">
            <a:avLst/>
          </a:prstGeom>
          <a:noFill/>
          <a:ln w="12700" cap="flat" cmpd="sng" algn="ctr">
            <a:noFill/>
            <a:prstDash val="solid"/>
            <a:miter lim="800000"/>
            <a:headEnd/>
            <a:tailEnd/>
          </a:ln>
          <a:effectLst>
            <a:outerShdw blurRad="63500" sx="102000" sy="102000" algn="ctr" rotWithShape="0">
              <a:prstClr val="black">
                <a:alpha val="40000"/>
              </a:prstClr>
            </a:outerShdw>
          </a:effectLst>
        </p:spPr>
      </p:pic>
      <p:sp>
        <p:nvSpPr>
          <p:cNvPr id="11" name="Rectangle 10">
            <a:extLst>
              <a:ext uri="{FF2B5EF4-FFF2-40B4-BE49-F238E27FC236}">
                <a16:creationId xmlns:a16="http://schemas.microsoft.com/office/drawing/2014/main" id="{485234FD-860F-4896-821D-2023F8D6B551}"/>
              </a:ext>
            </a:extLst>
          </p:cNvPr>
          <p:cNvSpPr/>
          <p:nvPr/>
        </p:nvSpPr>
        <p:spPr>
          <a:xfrm>
            <a:off x="1179085" y="1457325"/>
            <a:ext cx="4267200" cy="2862322"/>
          </a:xfrm>
          <a:prstGeom prst="rect">
            <a:avLst/>
          </a:prstGeom>
        </p:spPr>
        <p:txBody>
          <a:bodyPr wrap="square">
            <a:spAutoFit/>
          </a:bodyPr>
          <a:lstStyle/>
          <a:p>
            <a:pPr>
              <a:defRPr/>
            </a:pPr>
            <a:r>
              <a:rPr lang="ru-RU" dirty="0">
                <a:solidFill>
                  <a:srgbClr val="000000"/>
                </a:solidFill>
              </a:rPr>
              <a:t>В то время как внутреннее производство с/х продукции в основных импортирующих регионах уменьшается (страны Европы и Сев. Америки), спрос ежегодно растет быстрыми темпами, что создает возможности для развития экспорта в экваториальных регионах и в Восточной Африке, которые также могут поставлять продукцию в страны Ср. Востока и Азии</a:t>
            </a:r>
            <a:r>
              <a:rPr lang="en-US" dirty="0">
                <a:solidFill>
                  <a:srgbClr val="000000"/>
                </a:solidFill>
              </a:rPr>
              <a:t>.</a:t>
            </a:r>
          </a:p>
        </p:txBody>
      </p:sp>
      <p:sp>
        <p:nvSpPr>
          <p:cNvPr id="12" name="Rectangle 11">
            <a:extLst>
              <a:ext uri="{FF2B5EF4-FFF2-40B4-BE49-F238E27FC236}">
                <a16:creationId xmlns:a16="http://schemas.microsoft.com/office/drawing/2014/main" id="{3267FD0B-D796-499A-8333-A74D8E910033}"/>
              </a:ext>
            </a:extLst>
          </p:cNvPr>
          <p:cNvSpPr/>
          <p:nvPr/>
        </p:nvSpPr>
        <p:spPr>
          <a:xfrm>
            <a:off x="5217685" y="1762125"/>
            <a:ext cx="3812015" cy="3831818"/>
          </a:xfrm>
          <a:prstGeom prst="rect">
            <a:avLst/>
          </a:prstGeom>
        </p:spPr>
        <p:txBody>
          <a:bodyPr wrap="square">
            <a:spAutoFit/>
          </a:bodyPr>
          <a:lstStyle/>
          <a:p>
            <a:pPr marL="118695" indent="-118695" algn="just">
              <a:lnSpc>
                <a:spcPct val="90000"/>
              </a:lnSpc>
              <a:buClr>
                <a:srgbClr val="000000"/>
              </a:buClr>
              <a:buSzPct val="100000"/>
              <a:buFont typeface="Arial" pitchFamily="34" charset="0"/>
              <a:buChar char="•"/>
              <a:defRPr/>
            </a:pPr>
            <a:r>
              <a:rPr lang="ru-RU" dirty="0">
                <a:solidFill>
                  <a:srgbClr val="000000"/>
                </a:solidFill>
              </a:rPr>
              <a:t>Выгодное расположение – в центре региона</a:t>
            </a:r>
            <a:r>
              <a:rPr lang="en-US" dirty="0">
                <a:solidFill>
                  <a:srgbClr val="000000"/>
                </a:solidFill>
              </a:rPr>
              <a:t> </a:t>
            </a:r>
            <a:r>
              <a:rPr lang="ru-RU" dirty="0">
                <a:solidFill>
                  <a:srgbClr val="000000"/>
                </a:solidFill>
              </a:rPr>
              <a:t>ВАС.</a:t>
            </a:r>
            <a:endParaRPr lang="en-US" dirty="0">
              <a:solidFill>
                <a:srgbClr val="000000"/>
              </a:solidFill>
            </a:endParaRPr>
          </a:p>
          <a:p>
            <a:pPr marL="118695" indent="-118695" algn="just">
              <a:lnSpc>
                <a:spcPct val="90000"/>
              </a:lnSpc>
              <a:buClr>
                <a:srgbClr val="000000"/>
              </a:buClr>
              <a:buSzPct val="100000"/>
              <a:buFont typeface="Arial" pitchFamily="34" charset="0"/>
              <a:buChar char="•"/>
              <a:defRPr/>
            </a:pPr>
            <a:r>
              <a:rPr lang="ru-RU" dirty="0">
                <a:solidFill>
                  <a:srgbClr val="000000"/>
                </a:solidFill>
              </a:rPr>
              <a:t>Отсутствие засух, обильная влажность, сезоны дождей и природные источники пресной воды, наличие нескольких </a:t>
            </a:r>
            <a:r>
              <a:rPr lang="ru-RU" dirty="0" err="1">
                <a:solidFill>
                  <a:srgbClr val="000000"/>
                </a:solidFill>
              </a:rPr>
              <a:t>агро</a:t>
            </a:r>
            <a:r>
              <a:rPr lang="ru-RU" dirty="0">
                <a:solidFill>
                  <a:srgbClr val="000000"/>
                </a:solidFill>
              </a:rPr>
              <a:t>-климатических зон</a:t>
            </a:r>
            <a:r>
              <a:rPr lang="en-US" dirty="0">
                <a:solidFill>
                  <a:srgbClr val="000000"/>
                </a:solidFill>
              </a:rPr>
              <a:t> </a:t>
            </a:r>
            <a:r>
              <a:rPr lang="ru-RU" dirty="0">
                <a:solidFill>
                  <a:srgbClr val="000000"/>
                </a:solidFill>
              </a:rPr>
              <a:t>в высокогорьях, средневысотных и </a:t>
            </a:r>
            <a:r>
              <a:rPr lang="ru-RU" dirty="0" err="1">
                <a:solidFill>
                  <a:srgbClr val="000000"/>
                </a:solidFill>
              </a:rPr>
              <a:t>низковысотных</a:t>
            </a:r>
            <a:r>
              <a:rPr lang="ru-RU" dirty="0">
                <a:solidFill>
                  <a:srgbClr val="000000"/>
                </a:solidFill>
              </a:rPr>
              <a:t> районах, обладающих идеальным условиям для выращивания фруктов, овощей и цветов в течение всего года. </a:t>
            </a:r>
            <a:endParaRPr lang="en-US" dirty="0">
              <a:solidFill>
                <a:srgbClr val="000000"/>
              </a:solidFill>
            </a:endParaRPr>
          </a:p>
          <a:p>
            <a:pPr marL="118695" indent="-118695" algn="just">
              <a:lnSpc>
                <a:spcPct val="90000"/>
              </a:lnSpc>
              <a:buClr>
                <a:srgbClr val="000000"/>
              </a:buClr>
              <a:buSzPct val="100000"/>
              <a:buFont typeface="Arial" pitchFamily="34" charset="0"/>
              <a:buChar char="•"/>
              <a:defRPr/>
            </a:pPr>
            <a:r>
              <a:rPr lang="ru-RU" dirty="0">
                <a:solidFill>
                  <a:srgbClr val="000000"/>
                </a:solidFill>
              </a:rPr>
              <a:t>Руанда занимает 1-ое место в регионе по конкурентоспособности и эффективности управления</a:t>
            </a:r>
            <a:r>
              <a:rPr lang="en-US" dirty="0">
                <a:solidFill>
                  <a:srgbClr val="000000"/>
                </a:solidFill>
              </a:rPr>
              <a:t>.</a:t>
            </a:r>
          </a:p>
        </p:txBody>
      </p:sp>
      <p:graphicFrame>
        <p:nvGraphicFramePr>
          <p:cNvPr id="13" name="Chart 12">
            <a:extLst>
              <a:ext uri="{FF2B5EF4-FFF2-40B4-BE49-F238E27FC236}">
                <a16:creationId xmlns:a16="http://schemas.microsoft.com/office/drawing/2014/main" id="{C6FA53C1-38CE-423B-8CBC-744B598AE08C}"/>
              </a:ext>
            </a:extLst>
          </p:cNvPr>
          <p:cNvGraphicFramePr>
            <a:graphicFrameLocks/>
          </p:cNvGraphicFramePr>
          <p:nvPr>
            <p:extLst>
              <p:ext uri="{D42A27DB-BD31-4B8C-83A1-F6EECF244321}">
                <p14:modId xmlns:p14="http://schemas.microsoft.com/office/powerpoint/2010/main" val="3811090018"/>
              </p:ext>
            </p:extLst>
          </p:nvPr>
        </p:nvGraphicFramePr>
        <p:xfrm>
          <a:off x="3361593" y="4004817"/>
          <a:ext cx="1824943" cy="1589125"/>
        </p:xfrm>
        <a:graphic>
          <a:graphicData uri="http://schemas.openxmlformats.org/drawingml/2006/chart">
            <c:chart xmlns:c="http://schemas.openxmlformats.org/drawingml/2006/chart" xmlns:r="http://schemas.openxmlformats.org/officeDocument/2006/relationships" r:id="rId5"/>
          </a:graphicData>
        </a:graphic>
      </p:graphicFrame>
      <p:pic>
        <p:nvPicPr>
          <p:cNvPr id="14" name="Picture 40">
            <a:extLst>
              <a:ext uri="{FF2B5EF4-FFF2-40B4-BE49-F238E27FC236}">
                <a16:creationId xmlns:a16="http://schemas.microsoft.com/office/drawing/2014/main" id="{270A9170-D3C0-400C-9615-21664D001C4B}"/>
              </a:ext>
            </a:extLst>
          </p:cNvPr>
          <p:cNvPicPr>
            <a:picLocks noChangeAspect="1" noChangeArrowheads="1"/>
          </p:cNvPicPr>
          <p:nvPr/>
        </p:nvPicPr>
        <p:blipFill>
          <a:blip r:embed="rId6">
            <a:lum bright="2000"/>
            <a:extLst>
              <a:ext uri="{28A0092B-C50C-407E-A947-70E740481C1C}">
                <a14:useLocalDpi xmlns:a14="http://schemas.microsoft.com/office/drawing/2010/main" val="0"/>
              </a:ext>
            </a:extLst>
          </a:blip>
          <a:srcRect/>
          <a:stretch>
            <a:fillRect/>
          </a:stretch>
        </p:blipFill>
        <p:spPr bwMode="auto">
          <a:xfrm>
            <a:off x="1843822" y="4582050"/>
            <a:ext cx="1517772" cy="1149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5" name="Text Placeholder 2">
            <a:extLst>
              <a:ext uri="{FF2B5EF4-FFF2-40B4-BE49-F238E27FC236}">
                <a16:creationId xmlns:a16="http://schemas.microsoft.com/office/drawing/2014/main" id="{1A317D89-3673-41D2-AE73-F1399892039D}"/>
              </a:ext>
            </a:extLst>
          </p:cNvPr>
          <p:cNvSpPr txBox="1">
            <a:spLocks/>
          </p:cNvSpPr>
          <p:nvPr>
            <p:custDataLst>
              <p:tags r:id="rId2"/>
            </p:custDataLst>
          </p:nvPr>
        </p:nvSpPr>
        <p:spPr bwMode="auto">
          <a:xfrm rot="16200000">
            <a:off x="875019" y="5077166"/>
            <a:ext cx="1716698" cy="220907"/>
          </a:xfrm>
          <a:prstGeom prst="rect">
            <a:avLst/>
          </a:prstGeom>
          <a:solidFill>
            <a:srgbClr val="FFFF66"/>
          </a:solidFill>
          <a:ln w="9525">
            <a:solidFill>
              <a:srgbClr val="FFFF00"/>
            </a:solidFill>
            <a:miter lim="800000"/>
            <a:headEnd/>
            <a:tailEnd/>
          </a:ln>
        </p:spPr>
        <p:txBody>
          <a:bodyPr lIns="25322" tIns="12661" rIns="25322" bIns="12661" anchor="ctr"/>
          <a:lstStyle>
            <a:lvl1pPr marL="342900" indent="-34290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lnSpc>
                <a:spcPct val="120000"/>
              </a:lnSpc>
              <a:buClr>
                <a:srgbClr val="000000"/>
              </a:buClr>
              <a:buSzPct val="100000"/>
              <a:buFont typeface="Arial" panose="020B0604020202020204" pitchFamily="34" charset="0"/>
              <a:buNone/>
            </a:pPr>
            <a:r>
              <a:rPr lang="ru-RU" altLang="en-US" sz="831" b="1" dirty="0">
                <a:latin typeface="Helvetica Neue" charset="0"/>
              </a:rPr>
              <a:t>ПРЕИМУЩЕСТВА </a:t>
            </a:r>
            <a:endParaRPr lang="en-GB" altLang="en-US" sz="831" b="1" dirty="0">
              <a:latin typeface="Helvetica Neue" charset="0"/>
            </a:endParaRPr>
          </a:p>
        </p:txBody>
      </p:sp>
      <p:pic>
        <p:nvPicPr>
          <p:cNvPr id="16" name="Picture 15">
            <a:extLst>
              <a:ext uri="{FF2B5EF4-FFF2-40B4-BE49-F238E27FC236}">
                <a16:creationId xmlns:a16="http://schemas.microsoft.com/office/drawing/2014/main" id="{E1C76F4D-76C8-4D4D-A275-099725AF5D7F}"/>
              </a:ext>
            </a:extLst>
          </p:cNvPr>
          <p:cNvPicPr>
            <a:picLocks noChangeAspect="1"/>
          </p:cNvPicPr>
          <p:nvPr/>
        </p:nvPicPr>
        <p:blipFill>
          <a:blip r:embed="rId7"/>
          <a:stretch>
            <a:fillRect/>
          </a:stretch>
        </p:blipFill>
        <p:spPr>
          <a:xfrm>
            <a:off x="7916002" y="0"/>
            <a:ext cx="1218473" cy="1085849"/>
          </a:xfrm>
          <a:prstGeom prst="rect">
            <a:avLst/>
          </a:prstGeom>
        </p:spPr>
      </p:pic>
    </p:spTree>
    <p:extLst>
      <p:ext uri="{BB962C8B-B14F-4D97-AF65-F5344CB8AC3E}">
        <p14:creationId xmlns:p14="http://schemas.microsoft.com/office/powerpoint/2010/main" val="38309355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2A1C7-B807-43A1-BDA5-6014F5E065FD}"/>
              </a:ext>
            </a:extLst>
          </p:cNvPr>
          <p:cNvSpPr>
            <a:spLocks noGrp="1"/>
          </p:cNvSpPr>
          <p:nvPr>
            <p:ph type="title"/>
          </p:nvPr>
        </p:nvSpPr>
        <p:spPr>
          <a:xfrm>
            <a:off x="66676" y="274638"/>
            <a:ext cx="6743699" cy="696912"/>
          </a:xfrm>
        </p:spPr>
        <p:txBody>
          <a:bodyPr>
            <a:normAutofit fontScale="90000"/>
          </a:bodyPr>
          <a:lstStyle/>
          <a:p>
            <a:pPr lvl="0">
              <a:spcBef>
                <a:spcPts val="0"/>
              </a:spcBef>
              <a:spcAft>
                <a:spcPts val="277"/>
              </a:spcAft>
              <a:defRPr/>
            </a:pPr>
            <a:r>
              <a:rPr lang="en-US" sz="1400" b="1" i="1" dirty="0">
                <a:solidFill>
                  <a:schemeClr val="accent3">
                    <a:lumMod val="75000"/>
                  </a:schemeClr>
                </a:solidFill>
                <a:ea typeface="MS Gothic" charset="0"/>
                <a:cs typeface="Palatino"/>
              </a:rPr>
              <a:t>(</a:t>
            </a:r>
            <a:r>
              <a:rPr lang="ru-RU" sz="1400" b="1" i="1" dirty="0" err="1">
                <a:solidFill>
                  <a:schemeClr val="accent3">
                    <a:lumMod val="75000"/>
                  </a:schemeClr>
                </a:solidFill>
                <a:ea typeface="MS Gothic" charset="0"/>
                <a:cs typeface="Palatino"/>
              </a:rPr>
              <a:t>Продол</a:t>
            </a:r>
            <a:r>
              <a:rPr lang="en-US" sz="1400" b="1" i="1" dirty="0">
                <a:solidFill>
                  <a:schemeClr val="accent3">
                    <a:lumMod val="75000"/>
                  </a:schemeClr>
                </a:solidFill>
                <a:ea typeface="MS Gothic" charset="0"/>
                <a:cs typeface="Palatino"/>
              </a:rPr>
              <a:t>……)  </a:t>
            </a:r>
            <a:r>
              <a:rPr lang="ru-RU" sz="1400" b="1" i="1" dirty="0">
                <a:solidFill>
                  <a:schemeClr val="accent3">
                    <a:lumMod val="75000"/>
                  </a:schemeClr>
                </a:solidFill>
                <a:ea typeface="MS Gothic" charset="0"/>
                <a:cs typeface="Palatino"/>
              </a:rPr>
              <a:t>Отличные условия для производства высококачественной с/х продукции</a:t>
            </a:r>
            <a:br>
              <a:rPr lang="en-GB" sz="1400" b="1" i="1" dirty="0">
                <a:solidFill>
                  <a:schemeClr val="accent3">
                    <a:lumMod val="75000"/>
                  </a:schemeClr>
                </a:solidFill>
                <a:ea typeface="MS Gothic" charset="0"/>
                <a:cs typeface="Palatino"/>
              </a:rPr>
            </a:br>
            <a:r>
              <a:rPr lang="ru-RU" sz="1400" b="1" cap="all" dirty="0">
                <a:solidFill>
                  <a:schemeClr val="accent3">
                    <a:lumMod val="75000"/>
                  </a:schemeClr>
                </a:solidFill>
                <a:ea typeface="MS Gothic" charset="0"/>
                <a:cs typeface="Palatino"/>
              </a:rPr>
              <a:t>Возможности инвестирования</a:t>
            </a:r>
            <a:r>
              <a:rPr lang="en-GB" sz="1400" b="1" cap="all" dirty="0">
                <a:solidFill>
                  <a:schemeClr val="accent3">
                    <a:lumMod val="75000"/>
                  </a:schemeClr>
                </a:solidFill>
                <a:ea typeface="MS Gothic" charset="0"/>
                <a:cs typeface="Palatino"/>
              </a:rPr>
              <a:t>: </a:t>
            </a:r>
            <a:r>
              <a:rPr lang="ru-RU" sz="1400" b="1" i="1" dirty="0">
                <a:solidFill>
                  <a:schemeClr val="accent3">
                    <a:lumMod val="75000"/>
                  </a:schemeClr>
                </a:solidFill>
                <a:ea typeface="MS Gothic" charset="0"/>
                <a:cs typeface="Palatino"/>
              </a:rPr>
              <a:t>С/Х </a:t>
            </a:r>
            <a:r>
              <a:rPr lang="ru-RU" sz="1400" b="1" cap="all" dirty="0">
                <a:solidFill>
                  <a:schemeClr val="accent3">
                    <a:lumMod val="75000"/>
                  </a:schemeClr>
                </a:solidFill>
                <a:ea typeface="MS Gothic" charset="0"/>
                <a:cs typeface="Palatino"/>
              </a:rPr>
              <a:t>Экспорт </a:t>
            </a:r>
            <a:r>
              <a:rPr lang="ru-RU" sz="1400" b="1" i="1" dirty="0">
                <a:solidFill>
                  <a:schemeClr val="accent3">
                    <a:lumMod val="75000"/>
                  </a:schemeClr>
                </a:solidFill>
                <a:ea typeface="MS Gothic" charset="0"/>
                <a:cs typeface="Palatino"/>
              </a:rPr>
              <a:t>продукции</a:t>
            </a:r>
            <a:endParaRPr lang="en-US" sz="1400" dirty="0">
              <a:solidFill>
                <a:schemeClr val="accent3">
                  <a:lumMod val="75000"/>
                </a:schemeClr>
              </a:solidFill>
            </a:endParaRPr>
          </a:p>
        </p:txBody>
      </p:sp>
      <p:sp>
        <p:nvSpPr>
          <p:cNvPr id="3" name="Content Placeholder 2">
            <a:extLst>
              <a:ext uri="{FF2B5EF4-FFF2-40B4-BE49-F238E27FC236}">
                <a16:creationId xmlns:a16="http://schemas.microsoft.com/office/drawing/2014/main" id="{54C44E25-9D90-47D6-87D4-09C77EDCEDE2}"/>
              </a:ext>
            </a:extLst>
          </p:cNvPr>
          <p:cNvSpPr>
            <a:spLocks noGrp="1"/>
          </p:cNvSpPr>
          <p:nvPr>
            <p:ph idx="1"/>
          </p:nvPr>
        </p:nvSpPr>
        <p:spPr>
          <a:xfrm>
            <a:off x="457200" y="1352550"/>
            <a:ext cx="8229600" cy="4773613"/>
          </a:xfrm>
        </p:spPr>
        <p:txBody>
          <a:bodyPr>
            <a:normAutofit lnSpcReduction="10000"/>
          </a:bodyPr>
          <a:lstStyle/>
          <a:p>
            <a:pPr marL="118695" indent="-118695" algn="just">
              <a:lnSpc>
                <a:spcPct val="90000"/>
              </a:lnSpc>
              <a:buClr>
                <a:srgbClr val="000000"/>
              </a:buClr>
              <a:buSzPct val="100000"/>
              <a:buFont typeface="Arial" pitchFamily="34" charset="0"/>
              <a:buChar char="•"/>
              <a:defRPr/>
            </a:pPr>
            <a:r>
              <a:rPr lang="ru-RU" sz="1800" dirty="0">
                <a:solidFill>
                  <a:srgbClr val="000000"/>
                </a:solidFill>
              </a:rPr>
              <a:t>Поддержка частного сектора правительства на всех уровнях</a:t>
            </a:r>
            <a:r>
              <a:rPr lang="en-US" sz="1800" dirty="0">
                <a:solidFill>
                  <a:srgbClr val="000000"/>
                </a:solidFill>
              </a:rPr>
              <a:t>. </a:t>
            </a:r>
          </a:p>
          <a:p>
            <a:pPr marL="118695" indent="-118695" algn="just">
              <a:lnSpc>
                <a:spcPct val="90000"/>
              </a:lnSpc>
              <a:buClr>
                <a:srgbClr val="000000"/>
              </a:buClr>
              <a:buSzPct val="100000"/>
              <a:buFont typeface="Arial" pitchFamily="34" charset="0"/>
              <a:buChar char="•"/>
              <a:defRPr/>
            </a:pPr>
            <a:r>
              <a:rPr lang="ru-RU" sz="1800" dirty="0">
                <a:solidFill>
                  <a:srgbClr val="000000"/>
                </a:solidFill>
              </a:rPr>
              <a:t>Конкурентоспособная умеренная стоимость производства</a:t>
            </a:r>
            <a:r>
              <a:rPr lang="en-US" sz="1800" dirty="0">
                <a:solidFill>
                  <a:srgbClr val="000000"/>
                </a:solidFill>
              </a:rPr>
              <a:t>,</a:t>
            </a:r>
            <a:r>
              <a:rPr lang="ru-RU" sz="1800" dirty="0">
                <a:solidFill>
                  <a:srgbClr val="000000"/>
                </a:solidFill>
              </a:rPr>
              <a:t> большая доля работников с/х, низкие цены на аренду земли, большие запасы водных ресурсов для ирригации, развивающаяся инфраструктура и умеренные цены на электричество</a:t>
            </a:r>
            <a:r>
              <a:rPr lang="en-US" sz="1800" dirty="0">
                <a:solidFill>
                  <a:srgbClr val="000000"/>
                </a:solidFill>
              </a:rPr>
              <a:t>.</a:t>
            </a:r>
          </a:p>
          <a:p>
            <a:pPr marL="118695" indent="-118695" algn="just">
              <a:lnSpc>
                <a:spcPct val="90000"/>
              </a:lnSpc>
              <a:buClr>
                <a:srgbClr val="000000"/>
              </a:buClr>
              <a:buSzPct val="100000"/>
              <a:buFont typeface="Arial" pitchFamily="34" charset="0"/>
              <a:buChar char="•"/>
              <a:defRPr/>
            </a:pPr>
            <a:r>
              <a:rPr lang="ru-RU" sz="1800" dirty="0">
                <a:solidFill>
                  <a:srgbClr val="000000"/>
                </a:solidFill>
              </a:rPr>
              <a:t>Наличие готовых участков земли, желание производителей работать с инвесторами</a:t>
            </a:r>
            <a:r>
              <a:rPr lang="en-US" sz="1800" dirty="0">
                <a:solidFill>
                  <a:srgbClr val="000000"/>
                </a:solidFill>
              </a:rPr>
              <a:t>.</a:t>
            </a:r>
          </a:p>
          <a:p>
            <a:pPr marL="118695" indent="-118695" algn="just">
              <a:lnSpc>
                <a:spcPct val="90000"/>
              </a:lnSpc>
              <a:buClr>
                <a:srgbClr val="000000"/>
              </a:buClr>
              <a:buSzPct val="100000"/>
              <a:buFont typeface="Arial" pitchFamily="34" charset="0"/>
              <a:buChar char="•"/>
              <a:defRPr/>
            </a:pPr>
            <a:endParaRPr lang="fr-FR" sz="1800" dirty="0">
              <a:solidFill>
                <a:srgbClr val="000000"/>
              </a:solidFill>
            </a:endParaRPr>
          </a:p>
          <a:p>
            <a:pPr marL="118695" indent="-118695">
              <a:buClr>
                <a:srgbClr val="000000"/>
              </a:buClr>
              <a:buSzPct val="100000"/>
              <a:buFont typeface="Arial" pitchFamily="34" charset="0"/>
              <a:buChar char="•"/>
              <a:defRPr/>
            </a:pPr>
            <a:r>
              <a:rPr lang="ru-RU" sz="1900" dirty="0">
                <a:solidFill>
                  <a:srgbClr val="000000"/>
                </a:solidFill>
              </a:rPr>
              <a:t>Производство овощной продукции а) с высокой природной ценностью</a:t>
            </a:r>
            <a:r>
              <a:rPr lang="en-US" sz="1900" dirty="0">
                <a:solidFill>
                  <a:srgbClr val="000000"/>
                </a:solidFill>
              </a:rPr>
              <a:t>, </a:t>
            </a:r>
            <a:r>
              <a:rPr lang="ru-RU" sz="1900" dirty="0">
                <a:solidFill>
                  <a:srgbClr val="000000"/>
                </a:solidFill>
              </a:rPr>
              <a:t>б) производимую в недостаточном объеме </a:t>
            </a:r>
            <a:r>
              <a:rPr lang="en-US" sz="1900" dirty="0">
                <a:solidFill>
                  <a:srgbClr val="000000"/>
                </a:solidFill>
              </a:rPr>
              <a:t>(</a:t>
            </a:r>
            <a:r>
              <a:rPr lang="ru-RU" sz="1900" dirty="0">
                <a:solidFill>
                  <a:srgbClr val="000000"/>
                </a:solidFill>
              </a:rPr>
              <a:t>фасоль</a:t>
            </a:r>
            <a:r>
              <a:rPr lang="en-US" sz="1900" dirty="0">
                <a:solidFill>
                  <a:srgbClr val="000000"/>
                </a:solidFill>
              </a:rPr>
              <a:t>, </a:t>
            </a:r>
            <a:r>
              <a:rPr lang="ru-RU" sz="1900" dirty="0">
                <a:solidFill>
                  <a:srgbClr val="000000"/>
                </a:solidFill>
              </a:rPr>
              <a:t>сахарный горох</a:t>
            </a:r>
            <a:r>
              <a:rPr lang="en-US" sz="1900" dirty="0">
                <a:solidFill>
                  <a:srgbClr val="000000"/>
                </a:solidFill>
              </a:rPr>
              <a:t>,</a:t>
            </a:r>
            <a:r>
              <a:rPr lang="ru-RU" sz="1900" dirty="0">
                <a:solidFill>
                  <a:srgbClr val="000000"/>
                </a:solidFill>
              </a:rPr>
              <a:t> стручковый горох, чили, специальные виды овощей и растений (мини-порей, мини-кукуруза, мини-морковь,…</a:t>
            </a:r>
            <a:r>
              <a:rPr lang="en-US" sz="1900" dirty="0">
                <a:solidFill>
                  <a:srgbClr val="000000"/>
                </a:solidFill>
              </a:rPr>
              <a:t>)</a:t>
            </a:r>
          </a:p>
          <a:p>
            <a:pPr marL="118695" indent="-118695">
              <a:buClr>
                <a:srgbClr val="000000"/>
              </a:buClr>
              <a:buSzPct val="100000"/>
              <a:buFont typeface="Arial" pitchFamily="34" charset="0"/>
              <a:buChar char="•"/>
              <a:defRPr/>
            </a:pPr>
            <a:r>
              <a:rPr lang="ru-RU" sz="1900" dirty="0">
                <a:solidFill>
                  <a:srgbClr val="000000"/>
                </a:solidFill>
              </a:rPr>
              <a:t>Пр-во фруктов и ягод: маракуйя</a:t>
            </a:r>
            <a:r>
              <a:rPr lang="en-US" sz="1900" dirty="0">
                <a:solidFill>
                  <a:srgbClr val="000000"/>
                </a:solidFill>
              </a:rPr>
              <a:t>, </a:t>
            </a:r>
            <a:r>
              <a:rPr lang="ru-RU" sz="1900" dirty="0">
                <a:solidFill>
                  <a:srgbClr val="000000"/>
                </a:solidFill>
              </a:rPr>
              <a:t>ананасы, клубника, авокадо, крыжовник, бананы</a:t>
            </a:r>
            <a:r>
              <a:rPr lang="en-US" sz="1900" dirty="0">
                <a:solidFill>
                  <a:srgbClr val="000000"/>
                </a:solidFill>
              </a:rPr>
              <a:t> </a:t>
            </a:r>
          </a:p>
          <a:p>
            <a:pPr marL="118695" indent="-118695">
              <a:buClr>
                <a:srgbClr val="000000"/>
              </a:buClr>
              <a:buSzPct val="100000"/>
              <a:buFont typeface="Arial" pitchFamily="34" charset="0"/>
              <a:buChar char="•"/>
              <a:defRPr/>
            </a:pPr>
            <a:r>
              <a:rPr lang="ru-RU" sz="1900" dirty="0">
                <a:solidFill>
                  <a:srgbClr val="000000"/>
                </a:solidFill>
              </a:rPr>
              <a:t>С/х логистика </a:t>
            </a:r>
            <a:r>
              <a:rPr lang="fr-FR" sz="1900" dirty="0">
                <a:solidFill>
                  <a:srgbClr val="000000"/>
                </a:solidFill>
              </a:rPr>
              <a:t>(</a:t>
            </a:r>
            <a:r>
              <a:rPr lang="ru-RU" sz="1900" dirty="0">
                <a:solidFill>
                  <a:srgbClr val="000000"/>
                </a:solidFill>
              </a:rPr>
              <a:t>холодильные цепи</a:t>
            </a:r>
            <a:r>
              <a:rPr lang="fr-FR" sz="1900" dirty="0">
                <a:solidFill>
                  <a:srgbClr val="000000"/>
                </a:solidFill>
              </a:rPr>
              <a:t>, </a:t>
            </a:r>
            <a:r>
              <a:rPr lang="ru-RU" sz="1900" dirty="0">
                <a:solidFill>
                  <a:srgbClr val="000000"/>
                </a:solidFill>
              </a:rPr>
              <a:t>рефрижераторы</a:t>
            </a:r>
            <a:r>
              <a:rPr lang="fr-FR" sz="1900" dirty="0">
                <a:solidFill>
                  <a:srgbClr val="000000"/>
                </a:solidFill>
              </a:rPr>
              <a:t>, </a:t>
            </a:r>
            <a:r>
              <a:rPr lang="ru-RU" sz="1900" dirty="0">
                <a:solidFill>
                  <a:srgbClr val="000000"/>
                </a:solidFill>
              </a:rPr>
              <a:t>упаковочные цеха</a:t>
            </a:r>
            <a:r>
              <a:rPr lang="fr-FR" sz="1900" dirty="0">
                <a:solidFill>
                  <a:srgbClr val="000000"/>
                </a:solidFill>
              </a:rPr>
              <a:t>)</a:t>
            </a:r>
          </a:p>
          <a:p>
            <a:pPr marL="118695" indent="-118695">
              <a:buClr>
                <a:srgbClr val="000000"/>
              </a:buClr>
              <a:buSzPct val="100000"/>
              <a:buFont typeface="Arial" pitchFamily="34" charset="0"/>
              <a:buChar char="•"/>
              <a:defRPr/>
            </a:pPr>
            <a:r>
              <a:rPr lang="ru-RU" sz="1900" dirty="0">
                <a:solidFill>
                  <a:srgbClr val="000000"/>
                </a:solidFill>
              </a:rPr>
              <a:t>Упаковочные материалы для с/х продукции</a:t>
            </a:r>
            <a:endParaRPr lang="en-US" sz="1900" dirty="0"/>
          </a:p>
        </p:txBody>
      </p:sp>
      <p:sp>
        <p:nvSpPr>
          <p:cNvPr id="4" name="Slide Number Placeholder 3">
            <a:extLst>
              <a:ext uri="{FF2B5EF4-FFF2-40B4-BE49-F238E27FC236}">
                <a16:creationId xmlns:a16="http://schemas.microsoft.com/office/drawing/2014/main" id="{E43C7E63-551F-4E5C-85B7-242F16BE399C}"/>
              </a:ext>
            </a:extLst>
          </p:cNvPr>
          <p:cNvSpPr>
            <a:spLocks noGrp="1"/>
          </p:cNvSpPr>
          <p:nvPr>
            <p:ph type="sldNum" sz="quarter" idx="12"/>
          </p:nvPr>
        </p:nvSpPr>
        <p:spPr/>
        <p:txBody>
          <a:bodyPr/>
          <a:lstStyle/>
          <a:p>
            <a:fld id="{0A5013A8-F3E1-2C42-B42A-3ED798E2D4A7}" type="slidenum">
              <a:rPr lang="en-US" smtClean="0"/>
              <a:t>11</a:t>
            </a:fld>
            <a:endParaRPr lang="en-US"/>
          </a:p>
        </p:txBody>
      </p:sp>
      <p:sp>
        <p:nvSpPr>
          <p:cNvPr id="5" name="Text Placeholder 2">
            <a:extLst>
              <a:ext uri="{FF2B5EF4-FFF2-40B4-BE49-F238E27FC236}">
                <a16:creationId xmlns:a16="http://schemas.microsoft.com/office/drawing/2014/main" id="{737BE7DD-65AC-4BED-8E40-BE8ECA1FB7E8}"/>
              </a:ext>
            </a:extLst>
          </p:cNvPr>
          <p:cNvSpPr txBox="1">
            <a:spLocks/>
          </p:cNvSpPr>
          <p:nvPr>
            <p:custDataLst>
              <p:tags r:id="rId1"/>
            </p:custDataLst>
          </p:nvPr>
        </p:nvSpPr>
        <p:spPr bwMode="auto">
          <a:xfrm rot="16200000">
            <a:off x="-513426" y="2275185"/>
            <a:ext cx="1806074" cy="306634"/>
          </a:xfrm>
          <a:prstGeom prst="rect">
            <a:avLst/>
          </a:prstGeom>
          <a:solidFill>
            <a:srgbClr val="FFFF66"/>
          </a:solidFill>
          <a:ln w="9525">
            <a:solidFill>
              <a:srgbClr val="FFFF00"/>
            </a:solidFill>
            <a:miter lim="800000"/>
            <a:headEnd/>
            <a:tailEnd/>
          </a:ln>
        </p:spPr>
        <p:txBody>
          <a:bodyPr lIns="25322" tIns="12661" rIns="25322" bIns="12661" anchor="ctr"/>
          <a:lstStyle>
            <a:lvl1pPr marL="342900" indent="-34290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lnSpc>
                <a:spcPct val="120000"/>
              </a:lnSpc>
              <a:buClr>
                <a:srgbClr val="000000"/>
              </a:buClr>
              <a:buSzPct val="100000"/>
              <a:buFont typeface="Arial" panose="020B0604020202020204" pitchFamily="34" charset="0"/>
              <a:buNone/>
            </a:pPr>
            <a:r>
              <a:rPr lang="ru-RU" altLang="en-US" sz="831" b="1" dirty="0">
                <a:latin typeface="Helvetica Neue" charset="0"/>
              </a:rPr>
              <a:t>ПРЕИМУЩЕСТВА </a:t>
            </a:r>
            <a:endParaRPr lang="en-GB" altLang="en-US" sz="831" b="1" dirty="0">
              <a:latin typeface="Helvetica Neue" charset="0"/>
            </a:endParaRPr>
          </a:p>
        </p:txBody>
      </p:sp>
      <p:pic>
        <p:nvPicPr>
          <p:cNvPr id="8" name="Picture 7">
            <a:extLst>
              <a:ext uri="{FF2B5EF4-FFF2-40B4-BE49-F238E27FC236}">
                <a16:creationId xmlns:a16="http://schemas.microsoft.com/office/drawing/2014/main" id="{2A6DEBD1-D686-4C2E-A21C-362C992BCD8D}"/>
              </a:ext>
            </a:extLst>
          </p:cNvPr>
          <p:cNvPicPr>
            <a:picLocks noChangeAspect="1"/>
          </p:cNvPicPr>
          <p:nvPr/>
        </p:nvPicPr>
        <p:blipFill>
          <a:blip r:embed="rId3"/>
          <a:stretch>
            <a:fillRect/>
          </a:stretch>
        </p:blipFill>
        <p:spPr>
          <a:xfrm>
            <a:off x="142684" y="3609155"/>
            <a:ext cx="495593" cy="1801045"/>
          </a:xfrm>
          <a:prstGeom prst="rect">
            <a:avLst/>
          </a:prstGeom>
        </p:spPr>
      </p:pic>
      <p:pic>
        <p:nvPicPr>
          <p:cNvPr id="9" name="Picture 8">
            <a:extLst>
              <a:ext uri="{FF2B5EF4-FFF2-40B4-BE49-F238E27FC236}">
                <a16:creationId xmlns:a16="http://schemas.microsoft.com/office/drawing/2014/main" id="{4B4670DA-6902-4BF8-911F-A352A5087CEB}"/>
              </a:ext>
            </a:extLst>
          </p:cNvPr>
          <p:cNvPicPr>
            <a:picLocks noChangeAspect="1"/>
          </p:cNvPicPr>
          <p:nvPr/>
        </p:nvPicPr>
        <p:blipFill>
          <a:blip r:embed="rId4"/>
          <a:stretch>
            <a:fillRect/>
          </a:stretch>
        </p:blipFill>
        <p:spPr>
          <a:xfrm>
            <a:off x="6991350" y="172905"/>
            <a:ext cx="1981200" cy="1510910"/>
          </a:xfrm>
          <a:prstGeom prst="rect">
            <a:avLst/>
          </a:prstGeom>
        </p:spPr>
      </p:pic>
    </p:spTree>
    <p:extLst>
      <p:ext uri="{BB962C8B-B14F-4D97-AF65-F5344CB8AC3E}">
        <p14:creationId xmlns:p14="http://schemas.microsoft.com/office/powerpoint/2010/main" val="8827923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TextBox 14">
            <a:extLst>
              <a:ext uri="{FF2B5EF4-FFF2-40B4-BE49-F238E27FC236}">
                <a16:creationId xmlns:a16="http://schemas.microsoft.com/office/drawing/2014/main" id="{C844D638-BCE5-45F4-A696-8B5EC255F824}"/>
              </a:ext>
            </a:extLst>
          </p:cNvPr>
          <p:cNvSpPr txBox="1">
            <a:spLocks noChangeArrowheads="1"/>
          </p:cNvSpPr>
          <p:nvPr/>
        </p:nvSpPr>
        <p:spPr bwMode="auto">
          <a:xfrm>
            <a:off x="1257300" y="5543550"/>
            <a:ext cx="6553200" cy="1280380"/>
          </a:xfrm>
          <a:prstGeom prst="rect">
            <a:avLst/>
          </a:prstGeom>
          <a:noFill/>
          <a:ln w="9525">
            <a:solidFill>
              <a:srgbClr val="3366FF"/>
            </a:solidFill>
            <a:miter lim="800000"/>
            <a:headEnd/>
            <a:tailEnd/>
          </a:ln>
          <a:extLst>
            <a:ext uri="{909E8E84-426E-40DD-AFC4-6F175D3DCCD1}">
              <a14:hiddenFill xmlns:a14="http://schemas.microsoft.com/office/drawing/2010/main">
                <a:solidFill>
                  <a:srgbClr val="FFFFFF"/>
                </a:solidFill>
              </a14:hiddenFill>
            </a:ext>
          </a:extLst>
        </p:spPr>
        <p:txBody>
          <a:bodyPr lIns="12661" tIns="12661" rIns="12661" bIns="12661"/>
          <a:lstStyle>
            <a:lvl1pPr marL="171450" indent="-17145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just">
              <a:buFont typeface="Wingdings" panose="05000000000000000000" pitchFamily="2" charset="2"/>
              <a:buChar char="§"/>
            </a:pPr>
            <a:r>
              <a:rPr lang="ru-RU" altLang="en-US" sz="1100" dirty="0">
                <a:latin typeface="Calibri" panose="020F0502020204030204" pitchFamily="34" charset="0"/>
              </a:rPr>
              <a:t>Основная производимая продукция: свежее, пастеризованное и </a:t>
            </a:r>
            <a:r>
              <a:rPr lang="ru-RU" altLang="en-US" sz="1100" dirty="0" err="1">
                <a:latin typeface="Calibri" panose="020F0502020204030204" pitchFamily="34" charset="0"/>
              </a:rPr>
              <a:t>ультрапастеризованное</a:t>
            </a:r>
            <a:r>
              <a:rPr lang="ru-RU" altLang="en-US" sz="1100" dirty="0">
                <a:latin typeface="Calibri" panose="020F0502020204030204" pitchFamily="34" charset="0"/>
              </a:rPr>
              <a:t> молоко</a:t>
            </a:r>
            <a:r>
              <a:rPr lang="en-US" altLang="en-US" sz="1100" dirty="0">
                <a:latin typeface="Calibri" panose="020F0502020204030204" pitchFamily="34" charset="0"/>
              </a:rPr>
              <a:t>, </a:t>
            </a:r>
            <a:r>
              <a:rPr lang="ru-RU" altLang="en-US" sz="1100" dirty="0">
                <a:latin typeface="Calibri" panose="020F0502020204030204" pitchFamily="34" charset="0"/>
              </a:rPr>
              <a:t>йогурты, сыр.</a:t>
            </a:r>
            <a:endParaRPr lang="en-US" altLang="en-US" sz="1100" dirty="0">
              <a:latin typeface="Calibri" panose="020F0502020204030204" pitchFamily="34" charset="0"/>
            </a:endParaRPr>
          </a:p>
          <a:p>
            <a:pPr algn="just">
              <a:buFont typeface="Wingdings" panose="05000000000000000000" pitchFamily="2" charset="2"/>
              <a:buChar char="§"/>
            </a:pPr>
            <a:r>
              <a:rPr lang="ru-RU" altLang="en-US" sz="1100" dirty="0">
                <a:latin typeface="Calibri" panose="020F0502020204030204" pitchFamily="34" charset="0"/>
              </a:rPr>
              <a:t>Нужно </a:t>
            </a:r>
            <a:r>
              <a:rPr lang="en-US" altLang="en-US" sz="1100" dirty="0">
                <a:latin typeface="Calibri" panose="020F0502020204030204" pitchFamily="34" charset="0"/>
              </a:rPr>
              <a:t>$6</a:t>
            </a:r>
            <a:r>
              <a:rPr lang="ru-RU" altLang="en-US" sz="1100" dirty="0">
                <a:latin typeface="Calibri" panose="020F0502020204030204" pitchFamily="34" charset="0"/>
              </a:rPr>
              <a:t>,</a:t>
            </a:r>
            <a:r>
              <a:rPr lang="en-US" altLang="en-US" sz="1100" dirty="0">
                <a:latin typeface="Calibri" panose="020F0502020204030204" pitchFamily="34" charset="0"/>
              </a:rPr>
              <a:t>5M </a:t>
            </a:r>
            <a:r>
              <a:rPr lang="ru-RU" altLang="en-US" sz="1100" dirty="0">
                <a:latin typeface="Calibri" panose="020F0502020204030204" pitchFamily="34" charset="0"/>
              </a:rPr>
              <a:t>для создания молочного завода в </a:t>
            </a:r>
            <a:r>
              <a:rPr lang="ru-RU" altLang="en-US" sz="1100" dirty="0" err="1">
                <a:latin typeface="Calibri" panose="020F0502020204030204" pitchFamily="34" charset="0"/>
              </a:rPr>
              <a:t>Мукамире</a:t>
            </a:r>
            <a:r>
              <a:rPr lang="ru-RU" altLang="en-US" sz="1100" dirty="0">
                <a:latin typeface="Calibri" panose="020F0502020204030204" pitchFamily="34" charset="0"/>
              </a:rPr>
              <a:t> (</a:t>
            </a:r>
            <a:r>
              <a:rPr lang="ru-RU" altLang="en-US" sz="1100" dirty="0" err="1">
                <a:latin typeface="Calibri" panose="020F0502020204030204" pitchFamily="34" charset="0"/>
              </a:rPr>
              <a:t>Рубаву</a:t>
            </a:r>
            <a:r>
              <a:rPr lang="ru-RU" altLang="en-US" sz="1100" dirty="0">
                <a:latin typeface="Calibri" panose="020F0502020204030204" pitchFamily="34" charset="0"/>
              </a:rPr>
              <a:t>) с производительностью </a:t>
            </a:r>
            <a:r>
              <a:rPr lang="en-US" altLang="en-US" sz="1100" dirty="0">
                <a:latin typeface="Calibri" panose="020F0502020204030204" pitchFamily="34" charset="0"/>
              </a:rPr>
              <a:t>50000</a:t>
            </a:r>
            <a:r>
              <a:rPr lang="ru-RU" altLang="en-US" sz="1100" dirty="0">
                <a:latin typeface="Calibri" panose="020F0502020204030204" pitchFamily="34" charset="0"/>
              </a:rPr>
              <a:t> л</a:t>
            </a:r>
            <a:r>
              <a:rPr lang="en-US" altLang="en-US" sz="1100" dirty="0">
                <a:latin typeface="Calibri" panose="020F0502020204030204" pitchFamily="34" charset="0"/>
              </a:rPr>
              <a:t>/</a:t>
            </a:r>
            <a:r>
              <a:rPr lang="ru-RU" altLang="en-US" sz="1100" dirty="0">
                <a:latin typeface="Calibri" panose="020F0502020204030204" pitchFamily="34" charset="0"/>
              </a:rPr>
              <a:t>день </a:t>
            </a:r>
            <a:r>
              <a:rPr lang="en-US" altLang="en-US" sz="1100" dirty="0">
                <a:latin typeface="Calibri" panose="020F0502020204030204" pitchFamily="34" charset="0"/>
              </a:rPr>
              <a:t>(</a:t>
            </a:r>
            <a:r>
              <a:rPr lang="ru-RU" altLang="en-US" sz="1100" dirty="0">
                <a:latin typeface="Calibri" panose="020F0502020204030204" pitchFamily="34" charset="0"/>
              </a:rPr>
              <a:t>свежие сливки, свежее и пастеризованное молоко, сыр, йогурты</a:t>
            </a:r>
            <a:r>
              <a:rPr lang="en-US" altLang="en-US" sz="1100" dirty="0">
                <a:latin typeface="Calibri" panose="020F0502020204030204" pitchFamily="34" charset="0"/>
              </a:rPr>
              <a:t>) </a:t>
            </a:r>
          </a:p>
          <a:p>
            <a:pPr algn="just">
              <a:buFont typeface="Wingdings" panose="05000000000000000000" pitchFamily="2" charset="2"/>
              <a:buChar char="§"/>
            </a:pPr>
            <a:r>
              <a:rPr lang="ru-RU" altLang="en-US" sz="1100" dirty="0">
                <a:latin typeface="Calibri" panose="020F0502020204030204" pitchFamily="34" charset="0"/>
              </a:rPr>
              <a:t>Строительство </a:t>
            </a:r>
            <a:r>
              <a:rPr lang="ru-RU" altLang="en-US" sz="1100" dirty="0" err="1">
                <a:latin typeface="Calibri" panose="020F0502020204030204" pitchFamily="34" charset="0"/>
              </a:rPr>
              <a:t>молочноперерабатывающего</a:t>
            </a:r>
            <a:r>
              <a:rPr lang="ru-RU" altLang="en-US" sz="1100" dirty="0">
                <a:latin typeface="Calibri" panose="020F0502020204030204" pitchFamily="34" charset="0"/>
              </a:rPr>
              <a:t> завода в одной из основных областей, специализирующихся на </a:t>
            </a:r>
            <a:r>
              <a:rPr lang="ru-RU" altLang="en-US" sz="1100" dirty="0" err="1">
                <a:latin typeface="Calibri" panose="020F0502020204030204" pitchFamily="34" charset="0"/>
              </a:rPr>
              <a:t>прозводстве</a:t>
            </a:r>
            <a:r>
              <a:rPr lang="ru-RU" altLang="en-US" sz="1100" dirty="0">
                <a:latin typeface="Calibri" panose="020F0502020204030204" pitchFamily="34" charset="0"/>
              </a:rPr>
              <a:t> молока. </a:t>
            </a:r>
          </a:p>
          <a:p>
            <a:pPr algn="just">
              <a:buFont typeface="Wingdings" panose="05000000000000000000" pitchFamily="2" charset="2"/>
              <a:buChar char="§"/>
            </a:pPr>
            <a:r>
              <a:rPr lang="ru-RU" altLang="en-US" sz="1100" dirty="0">
                <a:latin typeface="Calibri" panose="020F0502020204030204" pitchFamily="34" charset="0"/>
              </a:rPr>
              <a:t>На сегодняшний день существует 9 молочных заводов</a:t>
            </a:r>
            <a:r>
              <a:rPr lang="en-US" altLang="en-US" sz="1100" dirty="0">
                <a:latin typeface="Calibri" panose="020F0502020204030204" pitchFamily="34" charset="0"/>
              </a:rPr>
              <a:t>.</a:t>
            </a:r>
          </a:p>
        </p:txBody>
      </p:sp>
      <p:pic>
        <p:nvPicPr>
          <p:cNvPr id="15365" name="Picture 9" descr="RWAN0001.GIF">
            <a:extLst>
              <a:ext uri="{FF2B5EF4-FFF2-40B4-BE49-F238E27FC236}">
                <a16:creationId xmlns:a16="http://schemas.microsoft.com/office/drawing/2014/main" id="{AD1C1C84-F2FF-443E-82C4-91374DC636F3}"/>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6200" y="6458499"/>
            <a:ext cx="522044" cy="350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6" name="TextBox 55">
            <a:extLst>
              <a:ext uri="{FF2B5EF4-FFF2-40B4-BE49-F238E27FC236}">
                <a16:creationId xmlns:a16="http://schemas.microsoft.com/office/drawing/2014/main" id="{710441D7-A42F-4CA9-B4DD-4B85DD4F418E}"/>
              </a:ext>
            </a:extLst>
          </p:cNvPr>
          <p:cNvSpPr txBox="1">
            <a:spLocks noChangeArrowheads="1"/>
          </p:cNvSpPr>
          <p:nvPr/>
        </p:nvSpPr>
        <p:spPr bwMode="auto">
          <a:xfrm>
            <a:off x="1171575" y="3553559"/>
            <a:ext cx="6320937" cy="1923316"/>
          </a:xfrm>
          <a:prstGeom prst="rect">
            <a:avLst/>
          </a:prstGeom>
          <a:noFill/>
          <a:ln w="9525">
            <a:solidFill>
              <a:srgbClr val="FFFF00"/>
            </a:solidFill>
            <a:miter lim="800000"/>
            <a:headEnd/>
            <a:tailEnd/>
          </a:ln>
          <a:extLst>
            <a:ext uri="{909E8E84-426E-40DD-AFC4-6F175D3DCCD1}">
              <a14:hiddenFill xmlns:a14="http://schemas.microsoft.com/office/drawing/2010/main">
                <a:solidFill>
                  <a:srgbClr val="FFFFFF"/>
                </a:solidFill>
              </a14:hiddenFill>
            </a:ext>
          </a:extLst>
        </p:spPr>
        <p:txBody>
          <a:bodyPr lIns="12661" tIns="12661" rIns="12661" bIns="12661"/>
          <a:lstStyle>
            <a:lvl1pPr marL="171450" indent="-17145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just">
              <a:spcAft>
                <a:spcPts val="277"/>
              </a:spcAft>
              <a:buFont typeface="Wingdings" panose="05000000000000000000" pitchFamily="2" charset="2"/>
              <a:buChar char="§"/>
            </a:pPr>
            <a:r>
              <a:rPr lang="ru-RU" altLang="en-US" sz="1200" dirty="0">
                <a:latin typeface="Calibri" panose="020F0502020204030204" pitchFamily="34" charset="0"/>
              </a:rPr>
              <a:t>Рынок потребителя с быстро растущим средним классом</a:t>
            </a:r>
            <a:endParaRPr lang="en-US" altLang="en-US" sz="1200" dirty="0">
              <a:latin typeface="Calibri" panose="020F0502020204030204" pitchFamily="34" charset="0"/>
            </a:endParaRPr>
          </a:p>
          <a:p>
            <a:pPr algn="just">
              <a:spcAft>
                <a:spcPts val="277"/>
              </a:spcAft>
              <a:buFont typeface="Wingdings" panose="05000000000000000000" pitchFamily="2" charset="2"/>
              <a:buChar char="§"/>
            </a:pPr>
            <a:r>
              <a:rPr lang="ru-RU" altLang="en-US" sz="1200" dirty="0">
                <a:latin typeface="Calibri" panose="020F0502020204030204" pitchFamily="34" charset="0"/>
              </a:rPr>
              <a:t>Свободная репатриация капитала и прибыли для иностранных инвесторов</a:t>
            </a:r>
            <a:endParaRPr lang="en-US" altLang="en-US" sz="1200" dirty="0">
              <a:latin typeface="Calibri" panose="020F0502020204030204" pitchFamily="34" charset="0"/>
            </a:endParaRPr>
          </a:p>
          <a:p>
            <a:pPr algn="just">
              <a:spcAft>
                <a:spcPts val="277"/>
              </a:spcAft>
              <a:buFont typeface="Wingdings" panose="05000000000000000000" pitchFamily="2" charset="2"/>
              <a:buChar char="§"/>
            </a:pPr>
            <a:r>
              <a:rPr lang="ru-RU" altLang="en-US" sz="1200" dirty="0">
                <a:latin typeface="Calibri" panose="020F0502020204030204" pitchFamily="34" charset="0"/>
              </a:rPr>
              <a:t>Хороший доступ к коммуникациям (электричество</a:t>
            </a:r>
            <a:r>
              <a:rPr lang="en-US" altLang="en-US" sz="1200" dirty="0">
                <a:latin typeface="Calibri" panose="020F0502020204030204" pitchFamily="34" charset="0"/>
              </a:rPr>
              <a:t>, </a:t>
            </a:r>
            <a:r>
              <a:rPr lang="ru-RU" altLang="en-US" sz="1200" dirty="0">
                <a:latin typeface="Calibri" panose="020F0502020204030204" pitchFamily="34" charset="0"/>
              </a:rPr>
              <a:t>вода, дороги)</a:t>
            </a:r>
            <a:endParaRPr lang="en-US" altLang="en-US" sz="1200" dirty="0">
              <a:latin typeface="Calibri" panose="020F0502020204030204" pitchFamily="34" charset="0"/>
            </a:endParaRPr>
          </a:p>
          <a:p>
            <a:pPr algn="just">
              <a:spcAft>
                <a:spcPts val="277"/>
              </a:spcAft>
              <a:buFont typeface="Wingdings" panose="05000000000000000000" pitchFamily="2" charset="2"/>
              <a:buChar char="§"/>
            </a:pPr>
            <a:r>
              <a:rPr lang="ru-RU" altLang="en-US" sz="1200" dirty="0">
                <a:latin typeface="Calibri" panose="020F0502020204030204" pitchFamily="34" charset="0"/>
              </a:rPr>
              <a:t>Поддержка правительственных ведомств</a:t>
            </a:r>
            <a:endParaRPr lang="en-US" altLang="en-US" sz="1200" dirty="0">
              <a:latin typeface="Calibri" panose="020F0502020204030204" pitchFamily="34" charset="0"/>
            </a:endParaRPr>
          </a:p>
          <a:p>
            <a:pPr algn="just">
              <a:spcAft>
                <a:spcPts val="277"/>
              </a:spcAft>
              <a:buFont typeface="Wingdings" panose="05000000000000000000" pitchFamily="2" charset="2"/>
              <a:buChar char="§"/>
            </a:pPr>
            <a:r>
              <a:rPr lang="ru-RU" altLang="en-US" sz="1200" dirty="0">
                <a:latin typeface="Calibri" panose="020F0502020204030204" pitchFamily="34" charset="0"/>
              </a:rPr>
              <a:t>Стратегическая близость к рынкам с повышенным спросом в Бурунди и ДРК </a:t>
            </a:r>
          </a:p>
          <a:p>
            <a:pPr algn="just">
              <a:spcAft>
                <a:spcPts val="277"/>
              </a:spcAft>
              <a:buFont typeface="Wingdings" panose="05000000000000000000" pitchFamily="2" charset="2"/>
              <a:buChar char="§"/>
            </a:pPr>
            <a:r>
              <a:rPr lang="ru-RU" altLang="en-US" sz="1200" dirty="0">
                <a:latin typeface="Calibri" panose="020F0502020204030204" pitchFamily="34" charset="0"/>
              </a:rPr>
              <a:t>Погодные условия, запасы воды</a:t>
            </a:r>
            <a:endParaRPr lang="en-US" altLang="en-US" sz="1200" dirty="0">
              <a:latin typeface="Calibri" panose="020F0502020204030204" pitchFamily="34" charset="0"/>
            </a:endParaRPr>
          </a:p>
          <a:p>
            <a:pPr algn="just">
              <a:spcAft>
                <a:spcPts val="277"/>
              </a:spcAft>
              <a:buFont typeface="Wingdings" panose="05000000000000000000" pitchFamily="2" charset="2"/>
              <a:buChar char="§"/>
            </a:pPr>
            <a:r>
              <a:rPr lang="ru-RU" altLang="en-US" sz="1200" dirty="0" err="1">
                <a:latin typeface="Calibri" panose="020F0502020204030204" pitchFamily="34" charset="0"/>
              </a:rPr>
              <a:t>Улучающаяся</a:t>
            </a:r>
            <a:r>
              <a:rPr lang="ru-RU" altLang="en-US" sz="1200" dirty="0">
                <a:latin typeface="Calibri" panose="020F0502020204030204" pitchFamily="34" charset="0"/>
              </a:rPr>
              <a:t> «</a:t>
            </a:r>
            <a:r>
              <a:rPr lang="ru-RU" altLang="en-US" sz="1200" dirty="0" err="1">
                <a:latin typeface="Calibri" panose="020F0502020204030204" pitchFamily="34" charset="0"/>
              </a:rPr>
              <a:t>безбарьерная</a:t>
            </a:r>
            <a:r>
              <a:rPr lang="ru-RU" altLang="en-US" sz="1200" dirty="0">
                <a:latin typeface="Calibri" panose="020F0502020204030204" pitchFamily="34" charset="0"/>
              </a:rPr>
              <a:t>» инфраструктура </a:t>
            </a:r>
            <a:r>
              <a:rPr lang="en-US" altLang="en-US" sz="1200" dirty="0">
                <a:latin typeface="Calibri" panose="020F0502020204030204" pitchFamily="34" charset="0"/>
              </a:rPr>
              <a:t>(96 </a:t>
            </a:r>
            <a:r>
              <a:rPr lang="ru-RU" altLang="en-US" sz="1200" dirty="0">
                <a:latin typeface="Calibri" panose="020F0502020204030204" pitchFamily="34" charset="0"/>
              </a:rPr>
              <a:t>молочных центров </a:t>
            </a:r>
            <a:r>
              <a:rPr lang="en-US" altLang="en-US" sz="1200" dirty="0">
                <a:latin typeface="Calibri" panose="020F0502020204030204" pitchFamily="34" charset="0"/>
              </a:rPr>
              <a:t>.</a:t>
            </a:r>
          </a:p>
          <a:p>
            <a:pPr algn="just">
              <a:spcAft>
                <a:spcPts val="277"/>
              </a:spcAft>
              <a:buFont typeface="Wingdings" panose="05000000000000000000" pitchFamily="2" charset="2"/>
              <a:buChar char="§"/>
            </a:pPr>
            <a:r>
              <a:rPr lang="ru-RU" altLang="en-US" sz="1200" dirty="0">
                <a:latin typeface="Calibri" panose="020F0502020204030204" pitchFamily="34" charset="0"/>
              </a:rPr>
              <a:t>Специализированные ведомства</a:t>
            </a:r>
            <a:r>
              <a:rPr lang="en-GB" altLang="en-US" sz="1200" dirty="0">
                <a:latin typeface="Calibri" panose="020F0502020204030204" pitchFamily="34" charset="0"/>
              </a:rPr>
              <a:t>: </a:t>
            </a:r>
            <a:r>
              <a:rPr lang="ru-RU" altLang="en-US" sz="1200" dirty="0">
                <a:latin typeface="Calibri" panose="020F0502020204030204" pitchFamily="34" charset="0"/>
              </a:rPr>
              <a:t>Бюро </a:t>
            </a:r>
            <a:r>
              <a:rPr lang="ru-RU" altLang="en-US" sz="1200" dirty="0" err="1">
                <a:latin typeface="Calibri" panose="020F0502020204030204" pitchFamily="34" charset="0"/>
              </a:rPr>
              <a:t>стандратов</a:t>
            </a:r>
            <a:r>
              <a:rPr lang="en-GB" altLang="en-US" sz="1200" dirty="0">
                <a:latin typeface="Calibri" panose="020F0502020204030204" pitchFamily="34" charset="0"/>
              </a:rPr>
              <a:t>, </a:t>
            </a:r>
            <a:r>
              <a:rPr lang="ru-RU" altLang="en-US" sz="1200" dirty="0">
                <a:latin typeface="Calibri" panose="020F0502020204030204" pitchFamily="34" charset="0"/>
              </a:rPr>
              <a:t>Управление СХ</a:t>
            </a:r>
            <a:r>
              <a:rPr lang="en-GB" altLang="en-US" sz="1200" dirty="0">
                <a:latin typeface="Calibri" panose="020F0502020204030204" pitchFamily="34" charset="0"/>
              </a:rPr>
              <a:t>, </a:t>
            </a:r>
            <a:r>
              <a:rPr lang="ru-RU" altLang="en-US" sz="1200" dirty="0">
                <a:latin typeface="Calibri" panose="020F0502020204030204" pitchFamily="34" charset="0"/>
              </a:rPr>
              <a:t>Лаборатория проверки качества молочной продукции</a:t>
            </a:r>
            <a:r>
              <a:rPr lang="en-GB" altLang="en-US" sz="1200" dirty="0">
                <a:latin typeface="Calibri" panose="020F0502020204030204" pitchFamily="34" charset="0"/>
              </a:rPr>
              <a:t>…</a:t>
            </a:r>
            <a:endParaRPr lang="en-US" altLang="en-US" sz="1200" dirty="0">
              <a:latin typeface="Calibri" panose="020F0502020204030204" pitchFamily="34" charset="0"/>
            </a:endParaRPr>
          </a:p>
        </p:txBody>
      </p:sp>
      <p:sp>
        <p:nvSpPr>
          <p:cNvPr id="65" name="Text Placeholder 2">
            <a:extLst>
              <a:ext uri="{FF2B5EF4-FFF2-40B4-BE49-F238E27FC236}">
                <a16:creationId xmlns:a16="http://schemas.microsoft.com/office/drawing/2014/main" id="{DC8C984F-2C7C-4E43-9450-F5B0FE395DF5}"/>
              </a:ext>
            </a:extLst>
          </p:cNvPr>
          <p:cNvSpPr txBox="1">
            <a:spLocks/>
          </p:cNvSpPr>
          <p:nvPr/>
        </p:nvSpPr>
        <p:spPr>
          <a:xfrm rot="16200000">
            <a:off x="501714" y="6002764"/>
            <a:ext cx="982540" cy="402615"/>
          </a:xfrm>
          <a:prstGeom prst="rect">
            <a:avLst/>
          </a:prstGeom>
          <a:solidFill>
            <a:srgbClr val="3366FF"/>
          </a:solidFill>
        </p:spPr>
        <p:txBody>
          <a:bodyPr lIns="25322" tIns="12661" rIns="25322" bIns="12661" anchor="ctr"/>
          <a:lstStyle/>
          <a:p>
            <a:pPr marL="237390" indent="-237390" algn="ctr">
              <a:lnSpc>
                <a:spcPct val="90000"/>
              </a:lnSpc>
              <a:defRPr/>
            </a:pPr>
            <a:r>
              <a:rPr lang="ru-RU" sz="831" b="1" dirty="0">
                <a:solidFill>
                  <a:schemeClr val="bg1"/>
                </a:solidFill>
                <a:effectLst>
                  <a:outerShdw blurRad="38100" dist="38100" dir="2700000" algn="tl">
                    <a:srgbClr val="000000">
                      <a:alpha val="43137"/>
                    </a:srgbClr>
                  </a:outerShdw>
                </a:effectLst>
                <a:latin typeface="Helvetica Neue"/>
                <a:ea typeface="MS PGothic" pitchFamily="34" charset="-128"/>
                <a:cs typeface="Helvetica Neue"/>
              </a:rPr>
              <a:t>Инвестиционные возможности</a:t>
            </a:r>
            <a:endParaRPr lang="en-GB" sz="831" b="1" dirty="0">
              <a:solidFill>
                <a:schemeClr val="bg1"/>
              </a:solidFill>
              <a:effectLst>
                <a:outerShdw blurRad="38100" dist="38100" dir="2700000" algn="tl">
                  <a:srgbClr val="000000">
                    <a:alpha val="43137"/>
                  </a:srgbClr>
                </a:outerShdw>
              </a:effectLst>
              <a:latin typeface="Helvetica Neue"/>
              <a:ea typeface="MS PGothic" pitchFamily="34" charset="-128"/>
              <a:cs typeface="Helvetica Neue"/>
            </a:endParaRPr>
          </a:p>
        </p:txBody>
      </p:sp>
      <p:sp>
        <p:nvSpPr>
          <p:cNvPr id="15368" name="Text Placeholder 2">
            <a:extLst>
              <a:ext uri="{FF2B5EF4-FFF2-40B4-BE49-F238E27FC236}">
                <a16:creationId xmlns:a16="http://schemas.microsoft.com/office/drawing/2014/main" id="{C2E41140-7B87-4C5F-BACC-47BCD2D914F3}"/>
              </a:ext>
            </a:extLst>
          </p:cNvPr>
          <p:cNvSpPr txBox="1">
            <a:spLocks/>
          </p:cNvSpPr>
          <p:nvPr>
            <p:custDataLst>
              <p:tags r:id="rId2"/>
            </p:custDataLst>
          </p:nvPr>
        </p:nvSpPr>
        <p:spPr bwMode="auto">
          <a:xfrm rot="16200000">
            <a:off x="100012" y="4358787"/>
            <a:ext cx="1560269" cy="176946"/>
          </a:xfrm>
          <a:prstGeom prst="rect">
            <a:avLst/>
          </a:prstGeom>
          <a:solidFill>
            <a:srgbClr val="FFFF66"/>
          </a:solidFill>
          <a:ln w="9525">
            <a:solidFill>
              <a:srgbClr val="FFFF66"/>
            </a:solidFill>
            <a:miter lim="800000"/>
            <a:headEnd/>
            <a:tailEnd/>
          </a:ln>
        </p:spPr>
        <p:txBody>
          <a:bodyPr lIns="25322" tIns="12661" rIns="25322" bIns="12661" anchor="ctr"/>
          <a:lstStyle>
            <a:lvl1pPr marL="342900" indent="-34290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lnSpc>
                <a:spcPct val="120000"/>
              </a:lnSpc>
              <a:buFont typeface="Arial" panose="020B0604020202020204" pitchFamily="34" charset="0"/>
              <a:buNone/>
            </a:pPr>
            <a:r>
              <a:rPr lang="ru-RU" altLang="en-US" sz="831" b="1" dirty="0">
                <a:latin typeface="Helvetica Neue" charset="0"/>
              </a:rPr>
              <a:t>ПРЕИМУЩЕСТВА</a:t>
            </a:r>
            <a:endParaRPr lang="en-GB" altLang="en-US" sz="831" b="1" dirty="0">
              <a:latin typeface="Helvetica Neue" charset="0"/>
            </a:endParaRPr>
          </a:p>
        </p:txBody>
      </p:sp>
      <p:sp>
        <p:nvSpPr>
          <p:cNvPr id="30" name="Text Placeholder 2">
            <a:extLst>
              <a:ext uri="{FF2B5EF4-FFF2-40B4-BE49-F238E27FC236}">
                <a16:creationId xmlns:a16="http://schemas.microsoft.com/office/drawing/2014/main" id="{3D687212-C376-407F-8790-1B6A67A08E51}"/>
              </a:ext>
            </a:extLst>
          </p:cNvPr>
          <p:cNvSpPr txBox="1">
            <a:spLocks/>
          </p:cNvSpPr>
          <p:nvPr>
            <p:custDataLst>
              <p:tags r:id="rId3"/>
            </p:custDataLst>
          </p:nvPr>
        </p:nvSpPr>
        <p:spPr>
          <a:xfrm rot="16200000">
            <a:off x="37733" y="1714499"/>
            <a:ext cx="1791433" cy="175846"/>
          </a:xfrm>
          <a:prstGeom prst="rect">
            <a:avLst/>
          </a:prstGeom>
          <a:solidFill>
            <a:srgbClr val="007E01"/>
          </a:solidFill>
          <a:ln>
            <a:solidFill>
              <a:srgbClr val="009900"/>
            </a:solidFill>
          </a:ln>
        </p:spPr>
        <p:txBody>
          <a:bodyPr lIns="25322" tIns="12661" rIns="25322" bIns="12661" anchor="ctr"/>
          <a:lstStyle/>
          <a:p>
            <a:pPr marL="237390" indent="-237390" algn="ctr">
              <a:lnSpc>
                <a:spcPct val="120000"/>
              </a:lnSpc>
              <a:defRPr/>
            </a:pPr>
            <a:r>
              <a:rPr lang="ru-RU" sz="831" b="1" dirty="0">
                <a:solidFill>
                  <a:schemeClr val="bg1"/>
                </a:solidFill>
                <a:effectLst>
                  <a:outerShdw blurRad="38100" dist="38100" dir="2700000" algn="tl">
                    <a:srgbClr val="000000">
                      <a:alpha val="43137"/>
                    </a:srgbClr>
                  </a:outerShdw>
                </a:effectLst>
                <a:latin typeface="Helvetica Neue"/>
                <a:ea typeface="MS PGothic" pitchFamily="34" charset="-128"/>
                <a:cs typeface="Helvetica Neue"/>
              </a:rPr>
              <a:t>РЫНОК</a:t>
            </a:r>
            <a:endParaRPr lang="en-GB" sz="831" b="1" dirty="0">
              <a:solidFill>
                <a:schemeClr val="bg1"/>
              </a:solidFill>
              <a:effectLst>
                <a:outerShdw blurRad="38100" dist="38100" dir="2700000" algn="tl">
                  <a:srgbClr val="000000">
                    <a:alpha val="43137"/>
                  </a:srgbClr>
                </a:outerShdw>
              </a:effectLst>
              <a:latin typeface="Helvetica Neue"/>
              <a:ea typeface="MS PGothic" pitchFamily="34" charset="-128"/>
              <a:cs typeface="Helvetica Neue"/>
            </a:endParaRPr>
          </a:p>
        </p:txBody>
      </p:sp>
      <p:pic>
        <p:nvPicPr>
          <p:cNvPr id="15370" name="Picture 9" descr="http://tonyblairoffice.org/page/-/images/agi/rdb%20logo.jpg">
            <a:extLst>
              <a:ext uri="{FF2B5EF4-FFF2-40B4-BE49-F238E27FC236}">
                <a16:creationId xmlns:a16="http://schemas.microsoft.com/office/drawing/2014/main" id="{3FCA78E8-241E-4611-B723-D41FF36D469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05768" y="6499164"/>
            <a:ext cx="548420" cy="269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5">
            <a:extLst>
              <a:ext uri="{FF2B5EF4-FFF2-40B4-BE49-F238E27FC236}">
                <a16:creationId xmlns:a16="http://schemas.microsoft.com/office/drawing/2014/main" id="{08463E16-B4B5-4E29-8DC1-990566DCFC35}"/>
              </a:ext>
            </a:extLst>
          </p:cNvPr>
          <p:cNvSpPr/>
          <p:nvPr/>
        </p:nvSpPr>
        <p:spPr>
          <a:xfrm>
            <a:off x="933450" y="0"/>
            <a:ext cx="5987562" cy="681404"/>
          </a:xfrm>
          <a:prstGeom prst="rect">
            <a:avLst/>
          </a:prstGeom>
          <a:solidFill>
            <a:schemeClr val="accent3"/>
          </a:solidFill>
          <a:ln w="63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15000"/>
              </a:lnSpc>
              <a:spcAft>
                <a:spcPts val="692"/>
              </a:spcAft>
              <a:defRPr/>
            </a:pPr>
            <a:endParaRPr lang="en-US" sz="1385" b="1" dirty="0">
              <a:solidFill>
                <a:srgbClr val="000000"/>
              </a:solidFill>
              <a:ea typeface="Calibri"/>
              <a:cs typeface="Times New Roman"/>
            </a:endParaRPr>
          </a:p>
          <a:p>
            <a:pPr algn="ctr">
              <a:spcAft>
                <a:spcPts val="415"/>
              </a:spcAft>
              <a:defRPr/>
            </a:pPr>
            <a:r>
              <a:rPr lang="ru-RU" sz="1108" b="1" dirty="0">
                <a:solidFill>
                  <a:schemeClr val="accent3">
                    <a:lumMod val="50000"/>
                  </a:schemeClr>
                </a:solidFill>
                <a:latin typeface="+mj-lt"/>
                <a:ea typeface="Calibri"/>
                <a:cs typeface="Times New Roman"/>
              </a:rPr>
              <a:t>РУАНДА</a:t>
            </a:r>
            <a:endParaRPr lang="en-US" sz="1108" dirty="0">
              <a:solidFill>
                <a:schemeClr val="tx2"/>
              </a:solidFill>
              <a:ea typeface="Calibri"/>
              <a:cs typeface="Times New Roman"/>
            </a:endParaRPr>
          </a:p>
          <a:p>
            <a:pPr algn="ctr">
              <a:spcAft>
                <a:spcPts val="415"/>
              </a:spcAft>
              <a:defRPr/>
            </a:pPr>
            <a:r>
              <a:rPr lang="ru-RU" sz="1108" b="1" cap="all" dirty="0">
                <a:solidFill>
                  <a:srgbClr val="000000"/>
                </a:solidFill>
                <a:ea typeface="MS Gothic" charset="0"/>
                <a:cs typeface="Palatino"/>
              </a:rPr>
              <a:t>Возможности инвестирования</a:t>
            </a:r>
            <a:r>
              <a:rPr lang="en-US" sz="1108" b="1" dirty="0">
                <a:solidFill>
                  <a:srgbClr val="000000"/>
                </a:solidFill>
                <a:ea typeface="Calibri"/>
                <a:cs typeface="Times New Roman"/>
              </a:rPr>
              <a:t>:  </a:t>
            </a:r>
            <a:r>
              <a:rPr lang="ru-RU" sz="1108" b="1" dirty="0">
                <a:solidFill>
                  <a:schemeClr val="tx1"/>
                </a:solidFill>
                <a:ea typeface="Calibri"/>
                <a:cs typeface="Times New Roman"/>
              </a:rPr>
              <a:t>МОЛОЧНАЯ ПРОДУКЦИЯ</a:t>
            </a:r>
            <a:endParaRPr lang="en-US" sz="1108" dirty="0">
              <a:solidFill>
                <a:schemeClr val="tx1"/>
              </a:solidFill>
              <a:ea typeface="Calibri"/>
              <a:cs typeface="Times New Roman"/>
            </a:endParaRPr>
          </a:p>
          <a:p>
            <a:pPr algn="ctr">
              <a:lnSpc>
                <a:spcPct val="115000"/>
              </a:lnSpc>
              <a:spcAft>
                <a:spcPts val="692"/>
              </a:spcAft>
              <a:defRPr/>
            </a:pPr>
            <a:r>
              <a:rPr lang="en-US" sz="762" dirty="0">
                <a:ea typeface="Calibri"/>
                <a:cs typeface="Times New Roman"/>
              </a:rPr>
              <a:t> </a:t>
            </a:r>
          </a:p>
        </p:txBody>
      </p:sp>
      <p:pic>
        <p:nvPicPr>
          <p:cNvPr id="15372" name="Picture 33">
            <a:extLst>
              <a:ext uri="{FF2B5EF4-FFF2-40B4-BE49-F238E27FC236}">
                <a16:creationId xmlns:a16="http://schemas.microsoft.com/office/drawing/2014/main" id="{6494FE24-002F-4880-A56E-09CD9815703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46598" y="0"/>
            <a:ext cx="675246" cy="955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73" name="Rectangle 35">
            <a:extLst>
              <a:ext uri="{FF2B5EF4-FFF2-40B4-BE49-F238E27FC236}">
                <a16:creationId xmlns:a16="http://schemas.microsoft.com/office/drawing/2014/main" id="{1D2172E9-FD6A-49AC-A46D-F176078C108E}"/>
              </a:ext>
            </a:extLst>
          </p:cNvPr>
          <p:cNvSpPr>
            <a:spLocks noChangeArrowheads="1"/>
          </p:cNvSpPr>
          <p:nvPr/>
        </p:nvSpPr>
        <p:spPr bwMode="auto">
          <a:xfrm>
            <a:off x="1171575" y="397487"/>
            <a:ext cx="6638924" cy="3031513"/>
          </a:xfrm>
          <a:prstGeom prst="rect">
            <a:avLst/>
          </a:prstGeom>
          <a:noFill/>
          <a:ln w="6350" algn="ctr">
            <a:solidFill>
              <a:srgbClr val="385D8A"/>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marL="266700" indent="-180975">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nSpc>
                <a:spcPct val="115000"/>
              </a:lnSpc>
              <a:buFont typeface="Arial" panose="020B0604020202020204" pitchFamily="34" charset="0"/>
              <a:buChar char="•"/>
            </a:pPr>
            <a:endParaRPr lang="en-US" altLang="en-US" sz="1200" b="1" dirty="0">
              <a:solidFill>
                <a:srgbClr val="0D0D0D"/>
              </a:solidFill>
              <a:latin typeface="Calibri" panose="020F0502020204030204" pitchFamily="34" charset="0"/>
              <a:ea typeface="Calibri" panose="020F0502020204030204" pitchFamily="34" charset="0"/>
              <a:cs typeface="Times New Roman" panose="02020603050405020304" pitchFamily="18" charset="0"/>
            </a:endParaRPr>
          </a:p>
          <a:p>
            <a:pPr algn="just">
              <a:spcAft>
                <a:spcPts val="277"/>
              </a:spcAft>
              <a:buFont typeface="Arial" panose="020B0604020202020204" pitchFamily="34" charset="0"/>
              <a:buChar char="•"/>
            </a:pPr>
            <a:endParaRPr lang="en-US"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endParaRPr>
          </a:p>
          <a:p>
            <a:pPr algn="just">
              <a:spcAft>
                <a:spcPts val="277"/>
              </a:spcAft>
              <a:buFont typeface="Arial" panose="020B0604020202020204" pitchFamily="34" charset="0"/>
              <a:buChar char="•"/>
            </a:pPr>
            <a:endParaRPr lang="en-US"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endParaRPr>
          </a:p>
          <a:p>
            <a:pPr algn="just">
              <a:spcAft>
                <a:spcPts val="277"/>
              </a:spcAft>
              <a:buFont typeface="Arial" panose="020B0604020202020204" pitchFamily="34" charset="0"/>
              <a:buChar char="•"/>
            </a:pPr>
            <a:r>
              <a:rPr lang="ru-RU"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rPr>
              <a:t>Увеличение продукции за последние 10 лет </a:t>
            </a:r>
            <a:r>
              <a:rPr lang="en-US"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rPr>
              <a:t>(</a:t>
            </a:r>
            <a:r>
              <a:rPr lang="ru-RU"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rPr>
              <a:t>с </a:t>
            </a:r>
            <a:r>
              <a:rPr lang="en-US"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rPr>
              <a:t>189</a:t>
            </a:r>
            <a:r>
              <a:rPr lang="ru-RU"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rPr>
              <a:t> </a:t>
            </a:r>
            <a:r>
              <a:rPr lang="en-US"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rPr>
              <a:t>827 MT </a:t>
            </a:r>
            <a:r>
              <a:rPr lang="ru-RU"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rPr>
              <a:t>в</a:t>
            </a:r>
            <a:r>
              <a:rPr lang="en-US"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rPr>
              <a:t> 2007 </a:t>
            </a:r>
            <a:r>
              <a:rPr lang="ru-RU"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rPr>
              <a:t>до</a:t>
            </a:r>
            <a:r>
              <a:rPr lang="en-US"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rPr>
              <a:t> 706,030 MT </a:t>
            </a:r>
            <a:r>
              <a:rPr lang="ru-RU"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rPr>
              <a:t>в</a:t>
            </a:r>
            <a:r>
              <a:rPr lang="en-US" altLang="en-US" sz="1200" dirty="0">
                <a:solidFill>
                  <a:srgbClr val="0D0D0D"/>
                </a:solidFill>
                <a:latin typeface="Calibri" panose="020F0502020204030204" pitchFamily="34" charset="0"/>
                <a:ea typeface="Calibri" panose="020F0502020204030204" pitchFamily="34" charset="0"/>
                <a:cs typeface="Times New Roman" panose="02020603050405020304" pitchFamily="18" charset="0"/>
              </a:rPr>
              <a:t> 2014)</a:t>
            </a:r>
            <a:endParaRPr lang="en-US" altLang="en-US" sz="1200" dirty="0">
              <a:latin typeface="Calibri" panose="020F0502020204030204" pitchFamily="34" charset="0"/>
              <a:ea typeface="Calibri" panose="020F0502020204030204" pitchFamily="34" charset="0"/>
              <a:cs typeface="Times New Roman" panose="02020603050405020304" pitchFamily="18" charset="0"/>
            </a:endParaRPr>
          </a:p>
          <a:p>
            <a:pPr algn="just">
              <a:spcAft>
                <a:spcPts val="277"/>
              </a:spcAft>
              <a:buFont typeface="Arial" panose="020B0604020202020204" pitchFamily="34" charset="0"/>
              <a:buChar char="•"/>
            </a:pP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Спрос на молочную продукцию превышает предложение</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endParaRPr lang="en-US" altLang="en-US" sz="1200" dirty="0">
              <a:latin typeface="Calibri" panose="020F0502020204030204" pitchFamily="34" charset="0"/>
              <a:ea typeface="Calibri" panose="020F0502020204030204" pitchFamily="34" charset="0"/>
              <a:cs typeface="Times New Roman" panose="02020603050405020304" pitchFamily="18" charset="0"/>
            </a:endParaRPr>
          </a:p>
          <a:p>
            <a:pPr algn="just">
              <a:spcAft>
                <a:spcPts val="277"/>
              </a:spcAft>
              <a:buFont typeface="Arial" panose="020B0604020202020204" pitchFamily="34" charset="0"/>
              <a:buChar char="•"/>
            </a:pP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Средний объем импорта </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1898</a:t>
            </a: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Т в год, при экспорте </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4</a:t>
            </a: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8</a:t>
            </a: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MT </a:t>
            </a: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в год</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endParaRPr lang="en-US" altLang="en-US" sz="1200" dirty="0">
              <a:latin typeface="Calibri" panose="020F0502020204030204" pitchFamily="34" charset="0"/>
              <a:ea typeface="Calibri" panose="020F0502020204030204" pitchFamily="34" charset="0"/>
              <a:cs typeface="Times New Roman" panose="02020603050405020304" pitchFamily="18" charset="0"/>
            </a:endParaRPr>
          </a:p>
          <a:p>
            <a:pPr algn="just">
              <a:spcAft>
                <a:spcPts val="277"/>
              </a:spcAft>
              <a:buFont typeface="Arial" panose="020B0604020202020204" pitchFamily="34" charset="0"/>
              <a:buChar char="•"/>
            </a:pP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Спрос на молоко превышает производственные возможности</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Потенциальный спрос на продукцию из пастеризованного молока </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рынок Кигали</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680</a:t>
            </a: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000 </a:t>
            </a: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л</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день, объем текущих продаж – </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83</a:t>
            </a: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000 </a:t>
            </a: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л</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r>
              <a:rPr lang="ru-RU"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день</a:t>
            </a:r>
            <a:r>
              <a:rPr lang="en-US" altLang="en-US"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endParaRPr lang="en-US" altLang="en-US" sz="1200" dirty="0">
              <a:latin typeface="Calibri" panose="020F0502020204030204" pitchFamily="34" charset="0"/>
              <a:ea typeface="Calibri" panose="020F0502020204030204" pitchFamily="34" charset="0"/>
              <a:cs typeface="Times New Roman" panose="02020603050405020304" pitchFamily="18" charset="0"/>
            </a:endParaRPr>
          </a:p>
          <a:p>
            <a:pPr algn="just">
              <a:spcAft>
                <a:spcPts val="277"/>
              </a:spcAft>
              <a:buFont typeface="Arial" panose="020B0604020202020204" pitchFamily="34" charset="0"/>
              <a:buChar char="•"/>
            </a:pPr>
            <a:r>
              <a:rPr lang="ru-RU" altLang="en-US" sz="1200" dirty="0">
                <a:latin typeface="Calibri" panose="020F0502020204030204" pitchFamily="34" charset="0"/>
                <a:ea typeface="Calibri" panose="020F0502020204030204" pitchFamily="34" charset="0"/>
                <a:cs typeface="Times New Roman" panose="02020603050405020304" pitchFamily="18" charset="0"/>
              </a:rPr>
              <a:t>Руанда производит</a:t>
            </a:r>
            <a:r>
              <a:rPr lang="en-US" altLang="en-US" sz="1200" dirty="0">
                <a:latin typeface="Calibri" panose="020F0502020204030204" pitchFamily="34" charset="0"/>
                <a:ea typeface="Calibri" panose="020F0502020204030204" pitchFamily="34" charset="0"/>
                <a:cs typeface="Times New Roman" panose="02020603050405020304" pitchFamily="18" charset="0"/>
              </a:rPr>
              <a:t> 2</a:t>
            </a:r>
            <a:r>
              <a:rPr lang="ru-RU" altLang="en-US" sz="1200" dirty="0">
                <a:latin typeface="Calibri" panose="020F0502020204030204" pitchFamily="34" charset="0"/>
                <a:ea typeface="Calibri" panose="020F0502020204030204" pitchFamily="34" charset="0"/>
                <a:cs typeface="Times New Roman" panose="02020603050405020304" pitchFamily="18" charset="0"/>
              </a:rPr>
              <a:t> </a:t>
            </a:r>
            <a:r>
              <a:rPr lang="en-US" altLang="en-US" sz="1200" dirty="0">
                <a:latin typeface="Calibri" panose="020F0502020204030204" pitchFamily="34" charset="0"/>
                <a:ea typeface="Calibri" panose="020F0502020204030204" pitchFamily="34" charset="0"/>
                <a:cs typeface="Times New Roman" panose="02020603050405020304" pitchFamily="18" charset="0"/>
              </a:rPr>
              <a:t>100</a:t>
            </a:r>
            <a:r>
              <a:rPr lang="ru-RU" altLang="en-US" sz="1200" dirty="0">
                <a:latin typeface="Calibri" panose="020F0502020204030204" pitchFamily="34" charset="0"/>
                <a:ea typeface="Calibri" panose="020F0502020204030204" pitchFamily="34" charset="0"/>
                <a:cs typeface="Times New Roman" panose="02020603050405020304" pitchFamily="18" charset="0"/>
              </a:rPr>
              <a:t> </a:t>
            </a:r>
            <a:r>
              <a:rPr lang="en-US" altLang="en-US" sz="1200" dirty="0">
                <a:latin typeface="Calibri" panose="020F0502020204030204" pitchFamily="34" charset="0"/>
                <a:ea typeface="Calibri" panose="020F0502020204030204" pitchFamily="34" charset="0"/>
                <a:cs typeface="Times New Roman" panose="02020603050405020304" pitchFamily="18" charset="0"/>
              </a:rPr>
              <a:t>000 </a:t>
            </a:r>
            <a:r>
              <a:rPr lang="ru-RU" altLang="en-US" sz="1200" dirty="0">
                <a:latin typeface="Calibri" panose="020F0502020204030204" pitchFamily="34" charset="0"/>
                <a:ea typeface="Calibri" panose="020F0502020204030204" pitchFamily="34" charset="0"/>
                <a:cs typeface="Times New Roman" panose="02020603050405020304" pitchFamily="18" charset="0"/>
              </a:rPr>
              <a:t>л молока в день</a:t>
            </a:r>
            <a:r>
              <a:rPr lang="en-US" altLang="en-US" sz="1200" dirty="0">
                <a:latin typeface="Calibri" panose="020F0502020204030204" pitchFamily="34" charset="0"/>
                <a:ea typeface="Calibri" panose="020F0502020204030204" pitchFamily="34" charset="0"/>
                <a:cs typeface="Times New Roman" panose="02020603050405020304" pitchFamily="18" charset="0"/>
              </a:rPr>
              <a:t>, </a:t>
            </a:r>
            <a:r>
              <a:rPr lang="ru-RU" altLang="en-US" sz="1200" dirty="0">
                <a:latin typeface="Calibri" panose="020F0502020204030204" pitchFamily="34" charset="0"/>
                <a:ea typeface="Calibri" panose="020F0502020204030204" pitchFamily="34" charset="0"/>
                <a:cs typeface="Times New Roman" panose="02020603050405020304" pitchFamily="18" charset="0"/>
              </a:rPr>
              <a:t>только </a:t>
            </a:r>
            <a:r>
              <a:rPr lang="en-US" altLang="en-US" sz="1200" dirty="0">
                <a:latin typeface="Calibri" panose="020F0502020204030204" pitchFamily="34" charset="0"/>
                <a:ea typeface="Calibri" panose="020F0502020204030204" pitchFamily="34" charset="0"/>
                <a:cs typeface="Times New Roman" panose="02020603050405020304" pitchFamily="18" charset="0"/>
              </a:rPr>
              <a:t>15% </a:t>
            </a:r>
            <a:r>
              <a:rPr lang="ru-RU" altLang="en-US" sz="1200" dirty="0">
                <a:latin typeface="Calibri" panose="020F0502020204030204" pitchFamily="34" charset="0"/>
                <a:ea typeface="Calibri" panose="020F0502020204030204" pitchFamily="34" charset="0"/>
                <a:cs typeface="Times New Roman" panose="02020603050405020304" pitchFamily="18" charset="0"/>
              </a:rPr>
              <a:t>из которых поступают на </a:t>
            </a:r>
            <a:r>
              <a:rPr lang="ru-RU" altLang="en-US" sz="1200" dirty="0" err="1">
                <a:latin typeface="Calibri" panose="020F0502020204030204" pitchFamily="34" charset="0"/>
                <a:ea typeface="Calibri" panose="020F0502020204030204" pitchFamily="34" charset="0"/>
                <a:cs typeface="Times New Roman" panose="02020603050405020304" pitchFamily="18" charset="0"/>
              </a:rPr>
              <a:t>формальн</a:t>
            </a:r>
            <a:r>
              <a:rPr lang="ru-RU" altLang="en-US" sz="1200" dirty="0">
                <a:latin typeface="Calibri" panose="020F0502020204030204" pitchFamily="34" charset="0"/>
                <a:ea typeface="Calibri" panose="020F0502020204030204" pitchFamily="34" charset="0"/>
                <a:cs typeface="Times New Roman" panose="02020603050405020304" pitchFamily="18" charset="0"/>
              </a:rPr>
              <a:t>. рынок</a:t>
            </a:r>
            <a:r>
              <a:rPr lang="en-US" altLang="en-US" sz="1200" dirty="0">
                <a:latin typeface="Calibri" panose="020F0502020204030204" pitchFamily="34" charset="0"/>
                <a:ea typeface="Calibri" panose="020F0502020204030204" pitchFamily="34" charset="0"/>
                <a:cs typeface="Times New Roman" panose="02020603050405020304" pitchFamily="18" charset="0"/>
              </a:rPr>
              <a:t>.</a:t>
            </a:r>
          </a:p>
          <a:p>
            <a:pPr algn="just">
              <a:spcAft>
                <a:spcPts val="277"/>
              </a:spcAft>
              <a:buFont typeface="Arial" panose="020B0604020202020204" pitchFamily="34" charset="0"/>
              <a:buChar char="•"/>
            </a:pPr>
            <a:r>
              <a:rPr lang="ru-RU" altLang="en-US" sz="1200" dirty="0">
                <a:latin typeface="Calibri" panose="020F0502020204030204" pitchFamily="34" charset="0"/>
                <a:ea typeface="Calibri" panose="020F0502020204030204" pitchFamily="34" charset="0"/>
                <a:cs typeface="Times New Roman" panose="02020603050405020304" pitchFamily="18" charset="0"/>
              </a:rPr>
              <a:t>Повышенный спрос на молоко и мол. продукцию в городской местности</a:t>
            </a:r>
            <a:r>
              <a:rPr lang="en-US" altLang="en-US" sz="1200" dirty="0">
                <a:latin typeface="Calibri" panose="020F0502020204030204" pitchFamily="34" charset="0"/>
                <a:ea typeface="Calibri" panose="020F0502020204030204" pitchFamily="34" charset="0"/>
                <a:cs typeface="Times New Roman" panose="02020603050405020304" pitchFamily="18" charset="0"/>
              </a:rPr>
              <a:t>.</a:t>
            </a:r>
          </a:p>
          <a:p>
            <a:pPr algn="just">
              <a:spcAft>
                <a:spcPts val="277"/>
              </a:spcAft>
              <a:buFont typeface="Arial" panose="020B0604020202020204" pitchFamily="34" charset="0"/>
              <a:buChar char="•"/>
            </a:pPr>
            <a:r>
              <a:rPr lang="ru-RU" altLang="en-US" sz="1200" dirty="0">
                <a:latin typeface="Calibri" panose="020F0502020204030204" pitchFamily="34" charset="0"/>
                <a:ea typeface="Calibri" panose="020F0502020204030204" pitchFamily="34" charset="0"/>
                <a:cs typeface="Times New Roman" panose="02020603050405020304" pitchFamily="18" charset="0"/>
              </a:rPr>
              <a:t>Региональные рынки в Бурунди и ДРК  ежедневно закупают</a:t>
            </a:r>
            <a:r>
              <a:rPr lang="en-US" altLang="en-US" sz="1200" dirty="0">
                <a:latin typeface="Calibri" panose="020F0502020204030204" pitchFamily="34" charset="0"/>
                <a:ea typeface="Calibri" panose="020F0502020204030204" pitchFamily="34" charset="0"/>
                <a:cs typeface="Times New Roman" panose="02020603050405020304" pitchFamily="18" charset="0"/>
              </a:rPr>
              <a:t> </a:t>
            </a:r>
            <a:r>
              <a:rPr lang="ru-RU" altLang="en-US" sz="1200" dirty="0">
                <a:latin typeface="Calibri" panose="020F0502020204030204" pitchFamily="34" charset="0"/>
                <a:ea typeface="Calibri" panose="020F0502020204030204" pitchFamily="34" charset="0"/>
                <a:cs typeface="Times New Roman" panose="02020603050405020304" pitchFamily="18" charset="0"/>
              </a:rPr>
              <a:t>из Руанды </a:t>
            </a:r>
            <a:r>
              <a:rPr lang="en-US" altLang="en-US" sz="1200" dirty="0">
                <a:latin typeface="Calibri" panose="020F0502020204030204" pitchFamily="34" charset="0"/>
                <a:ea typeface="Calibri" panose="020F0502020204030204" pitchFamily="34" charset="0"/>
                <a:cs typeface="Times New Roman" panose="02020603050405020304" pitchFamily="18" charset="0"/>
              </a:rPr>
              <a:t>75000</a:t>
            </a:r>
            <a:r>
              <a:rPr lang="ru-RU" altLang="en-US" sz="1200" dirty="0">
                <a:latin typeface="Calibri" panose="020F0502020204030204" pitchFamily="34" charset="0"/>
                <a:ea typeface="Calibri" panose="020F0502020204030204" pitchFamily="34" charset="0"/>
                <a:cs typeface="Times New Roman" panose="02020603050405020304" pitchFamily="18" charset="0"/>
              </a:rPr>
              <a:t>л ферментированного молока и йогурта. Продукция низкого качества вследствие отсутствия современного оборудования и технологий обработки</a:t>
            </a:r>
            <a:r>
              <a:rPr lang="en-US" altLang="en-US" sz="1200" dirty="0">
                <a:latin typeface="Calibri" panose="020F0502020204030204" pitchFamily="34" charset="0"/>
                <a:ea typeface="Calibri" panose="020F0502020204030204" pitchFamily="34" charset="0"/>
                <a:cs typeface="Times New Roman" panose="02020603050405020304" pitchFamily="18" charset="0"/>
              </a:rPr>
              <a:t>.</a:t>
            </a:r>
          </a:p>
          <a:p>
            <a:pPr>
              <a:lnSpc>
                <a:spcPct val="115000"/>
              </a:lnSpc>
              <a:spcAft>
                <a:spcPts val="692"/>
              </a:spcAft>
            </a:pPr>
            <a:r>
              <a:rPr lang="en-US" altLang="en-US" sz="1200" dirty="0">
                <a:latin typeface="Calibri" panose="020F0502020204030204" pitchFamily="34" charset="0"/>
                <a:ea typeface="Calibri" panose="020F0502020204030204" pitchFamily="34" charset="0"/>
                <a:cs typeface="Times New Roman" panose="02020603050405020304" pitchFamily="18" charset="0"/>
              </a:rPr>
              <a:t> </a:t>
            </a:r>
          </a:p>
        </p:txBody>
      </p:sp>
      <p:pic>
        <p:nvPicPr>
          <p:cNvPr id="15374" name="Picture 22">
            <a:extLst>
              <a:ext uri="{FF2B5EF4-FFF2-40B4-BE49-F238E27FC236}">
                <a16:creationId xmlns:a16="http://schemas.microsoft.com/office/drawing/2014/main" id="{CB3224BE-9D81-4EBD-86C3-D2D05096BC9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21844" y="0"/>
            <a:ext cx="783924" cy="955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375" name="Chart 20">
            <a:extLst>
              <a:ext uri="{FF2B5EF4-FFF2-40B4-BE49-F238E27FC236}">
                <a16:creationId xmlns:a16="http://schemas.microsoft.com/office/drawing/2014/main" id="{4E421E5B-58A4-488E-98E5-6A8BEECB2A73}"/>
              </a:ext>
            </a:extLst>
          </p:cNvPr>
          <p:cNvGraphicFramePr>
            <a:graphicFrameLocks/>
          </p:cNvGraphicFramePr>
          <p:nvPr>
            <p:extLst>
              <p:ext uri="{D42A27DB-BD31-4B8C-83A1-F6EECF244321}">
                <p14:modId xmlns:p14="http://schemas.microsoft.com/office/powerpoint/2010/main" val="4145016800"/>
              </p:ext>
            </p:extLst>
          </p:nvPr>
        </p:nvGraphicFramePr>
        <p:xfrm>
          <a:off x="7381451" y="3274035"/>
          <a:ext cx="1672737" cy="1802789"/>
        </p:xfrm>
        <a:graphic>
          <a:graphicData uri="http://schemas.openxmlformats.org/presentationml/2006/ole">
            <mc:AlternateContent xmlns:mc="http://schemas.openxmlformats.org/markup-compatibility/2006">
              <mc:Choice xmlns:v="urn:schemas-microsoft-com:vml" Requires="v">
                <p:oleObj spid="_x0000_s4105" r:id="rId11" imgW="2188654" imgH="2475191" progId="Excel.Chart.8">
                  <p:embed/>
                </p:oleObj>
              </mc:Choice>
              <mc:Fallback>
                <p:oleObj r:id="rId11" imgW="2188654" imgH="2475191" progId="Excel.Chart.8">
                  <p:embed/>
                  <p:pic>
                    <p:nvPicPr>
                      <p:cNvPr id="15375" name="Chart 20">
                        <a:extLst>
                          <a:ext uri="{FF2B5EF4-FFF2-40B4-BE49-F238E27FC236}">
                            <a16:creationId xmlns:a16="http://schemas.microsoft.com/office/drawing/2014/main" id="{4E421E5B-58A4-488E-98E5-6A8BEECB2A73}"/>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81451" y="3274035"/>
                        <a:ext cx="1672737" cy="1802789"/>
                      </a:xfrm>
                      <a:prstGeom prst="rect">
                        <a:avLst/>
                      </a:prstGeom>
                      <a:noFill/>
                      <a:ln>
                        <a:noFill/>
                      </a:ln>
                    </p:spPr>
                  </p:pic>
                </p:oleObj>
              </mc:Fallback>
            </mc:AlternateContent>
          </a:graphicData>
        </a:graphic>
      </p:graphicFrame>
      <p:sp>
        <p:nvSpPr>
          <p:cNvPr id="15376" name="Footer Placeholder 4">
            <a:extLst>
              <a:ext uri="{FF2B5EF4-FFF2-40B4-BE49-F238E27FC236}">
                <a16:creationId xmlns:a16="http://schemas.microsoft.com/office/drawing/2014/main" id="{AF514FB2-4DDB-42DC-ADE2-B345CA628C00}"/>
              </a:ext>
            </a:extLst>
          </p:cNvPr>
          <p:cNvSpPr txBox="1">
            <a:spLocks/>
          </p:cNvSpPr>
          <p:nvPr>
            <p:custDataLst>
              <p:tags r:id="rId4"/>
            </p:custDataLst>
          </p:nvPr>
        </p:nvSpPr>
        <p:spPr bwMode="auto">
          <a:xfrm>
            <a:off x="2865194" y="6204072"/>
            <a:ext cx="3540003" cy="61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1652" tIns="12661" rIns="31652" bIns="12661"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buClr>
                <a:srgbClr val="000000"/>
              </a:buClr>
              <a:buSzPct val="100000"/>
              <a:buFont typeface="Times New Roman" panose="02020603050405020304" pitchFamily="18" charset="0"/>
              <a:buNone/>
            </a:pPr>
            <a:endParaRPr lang="en-US" altLang="en-US" sz="762" i="1" dirty="0">
              <a:latin typeface="Palatino" pitchFamily="18" charset="0"/>
            </a:endParaRPr>
          </a:p>
        </p:txBody>
      </p:sp>
    </p:spTree>
    <p:extLst>
      <p:ext uri="{BB962C8B-B14F-4D97-AF65-F5344CB8AC3E}">
        <p14:creationId xmlns:p14="http://schemas.microsoft.com/office/powerpoint/2010/main" val="23821380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410" name="Group 2">
            <a:extLst>
              <a:ext uri="{FF2B5EF4-FFF2-40B4-BE49-F238E27FC236}">
                <a16:creationId xmlns:a16="http://schemas.microsoft.com/office/drawing/2014/main" id="{9846875E-DCFF-48C1-BD94-F744EB67D5A8}"/>
              </a:ext>
            </a:extLst>
          </p:cNvPr>
          <p:cNvGrpSpPr>
            <a:grpSpLocks/>
          </p:cNvGrpSpPr>
          <p:nvPr/>
        </p:nvGrpSpPr>
        <p:grpSpPr bwMode="auto">
          <a:xfrm>
            <a:off x="886840" y="142026"/>
            <a:ext cx="7085659" cy="6601783"/>
            <a:chOff x="-3799" y="-56"/>
            <a:chExt cx="18424" cy="16132"/>
          </a:xfrm>
        </p:grpSpPr>
        <p:sp>
          <p:nvSpPr>
            <p:cNvPr id="4103" name="Text Box 3">
              <a:extLst>
                <a:ext uri="{FF2B5EF4-FFF2-40B4-BE49-F238E27FC236}">
                  <a16:creationId xmlns:a16="http://schemas.microsoft.com/office/drawing/2014/main" id="{703A42C5-B5FD-4BBA-A04C-9AB8C5ABCEC8}"/>
                </a:ext>
              </a:extLst>
            </p:cNvPr>
            <p:cNvSpPr txBox="1">
              <a:spLocks noChangeArrowheads="1"/>
            </p:cNvSpPr>
            <p:nvPr/>
          </p:nvSpPr>
          <p:spPr bwMode="auto">
            <a:xfrm>
              <a:off x="-2944" y="2171"/>
              <a:ext cx="17569" cy="4381"/>
            </a:xfrm>
            <a:prstGeom prst="rect">
              <a:avLst/>
            </a:prstGeom>
            <a:solidFill>
              <a:srgbClr val="FFFFFF"/>
            </a:solidFill>
            <a:ln w="9525">
              <a:solidFill>
                <a:srgbClr val="00B050"/>
              </a:solidFill>
              <a:miter lim="800000"/>
              <a:headEnd/>
              <a:tailEnd/>
            </a:ln>
          </p:spPr>
          <p:txBody>
            <a:bodyPr/>
            <a:lstStyle/>
            <a:p>
              <a:pPr marL="125289" lvl="1" indent="-125289" algn="just">
                <a:buFont typeface="Symbol" pitchFamily="18" charset="2"/>
                <a:buChar char="·"/>
                <a:defRPr/>
              </a:pPr>
              <a:r>
                <a:rPr lang="ru-RU" sz="1400" dirty="0">
                  <a:latin typeface="Bookman Old Style" pitchFamily="18" charset="0"/>
                </a:rPr>
                <a:t>Вклад животноводства в объем ВВП – </a:t>
              </a:r>
              <a:r>
                <a:rPr lang="en-US" sz="1400" dirty="0">
                  <a:latin typeface="Bookman Old Style" pitchFamily="18" charset="0"/>
                </a:rPr>
                <a:t>10%</a:t>
              </a:r>
              <a:r>
                <a:rPr lang="ru-RU" sz="1400" dirty="0">
                  <a:latin typeface="Bookman Old Style" pitchFamily="18" charset="0"/>
                </a:rPr>
                <a:t>, в с/х ВВП – </a:t>
              </a:r>
              <a:r>
                <a:rPr lang="en-US" sz="1400" dirty="0">
                  <a:latin typeface="Bookman Old Style" pitchFamily="18" charset="0"/>
                </a:rPr>
                <a:t>3%</a:t>
              </a:r>
              <a:r>
                <a:rPr lang="ru-RU" sz="1400" dirty="0">
                  <a:latin typeface="Bookman Old Style" pitchFamily="18" charset="0"/>
                </a:rPr>
                <a:t>, </a:t>
              </a:r>
              <a:r>
                <a:rPr lang="en-US" altLang="en-US" sz="1400" dirty="0">
                  <a:latin typeface="Bookman Old Style" pitchFamily="18" charset="0"/>
                </a:rPr>
                <a:t>65% </a:t>
              </a:r>
              <a:r>
                <a:rPr lang="ru-RU" altLang="en-US" sz="1400" dirty="0">
                  <a:latin typeface="Bookman Old Style" pitchFamily="18" charset="0"/>
                </a:rPr>
                <a:t>семей занимаются тем или иным видом животноводства</a:t>
              </a:r>
              <a:endParaRPr lang="en-US" sz="1400" dirty="0">
                <a:latin typeface="Bookman Old Style" pitchFamily="18" charset="0"/>
              </a:endParaRPr>
            </a:p>
            <a:p>
              <a:pPr marL="125289" indent="-125289" algn="just">
                <a:buFont typeface="Symbol" pitchFamily="18" charset="2"/>
                <a:buChar char="·"/>
                <a:defRPr/>
              </a:pPr>
              <a:r>
                <a:rPr lang="ru-RU" sz="1400" dirty="0">
                  <a:latin typeface="Bookman Old Style" pitchFamily="18" charset="0"/>
                </a:rPr>
                <a:t>Поголовье скота значительно увеличилось с </a:t>
              </a:r>
              <a:r>
                <a:rPr lang="en-US" sz="1400" dirty="0">
                  <a:latin typeface="Bookman Old Style" pitchFamily="18" charset="0"/>
                </a:rPr>
                <a:t>2005 </a:t>
              </a:r>
              <a:r>
                <a:rPr lang="ru-RU" sz="1400" dirty="0">
                  <a:latin typeface="Bookman Old Style" pitchFamily="18" charset="0"/>
                </a:rPr>
                <a:t>до </a:t>
              </a:r>
              <a:r>
                <a:rPr lang="en-US" sz="1400" dirty="0">
                  <a:latin typeface="Bookman Old Style" pitchFamily="18" charset="0"/>
                </a:rPr>
                <a:t>2014</a:t>
              </a:r>
              <a:r>
                <a:rPr lang="ru-RU" sz="1400" dirty="0">
                  <a:latin typeface="Bookman Old Style" pitchFamily="18" charset="0"/>
                </a:rPr>
                <a:t>гг</a:t>
              </a:r>
              <a:r>
                <a:rPr lang="en-US" sz="1400" dirty="0">
                  <a:latin typeface="Bookman Old Style" pitchFamily="18" charset="0"/>
                </a:rPr>
                <a:t>:</a:t>
              </a:r>
            </a:p>
            <a:p>
              <a:pPr marL="250578" lvl="1" indent="-125289" algn="just">
                <a:buFont typeface="Symbol" pitchFamily="18" charset="2"/>
                <a:buChar char="·"/>
                <a:defRPr/>
              </a:pPr>
              <a:r>
                <a:rPr lang="ru-RU" sz="1400" dirty="0">
                  <a:latin typeface="Bookman Old Style" pitchFamily="18" charset="0"/>
                </a:rPr>
                <a:t>Крупно-рогатый скот: с</a:t>
              </a:r>
              <a:r>
                <a:rPr lang="en-US" sz="1400" dirty="0">
                  <a:latin typeface="Bookman Old Style" pitchFamily="18" charset="0"/>
                </a:rPr>
                <a:t> 1,006,572 </a:t>
              </a:r>
              <a:r>
                <a:rPr lang="ru-RU" sz="1400" dirty="0">
                  <a:latin typeface="Bookman Old Style" pitchFamily="18" charset="0"/>
                </a:rPr>
                <a:t>до </a:t>
              </a:r>
              <a:r>
                <a:rPr lang="en-US" sz="1400" dirty="0">
                  <a:latin typeface="Bookman Old Style" pitchFamily="18" charset="0"/>
                </a:rPr>
                <a:t>1,143,553</a:t>
              </a:r>
            </a:p>
            <a:p>
              <a:pPr marL="250578" lvl="1" indent="-125289" algn="just">
                <a:buFont typeface="Symbol" pitchFamily="18" charset="2"/>
                <a:buChar char="·"/>
                <a:defRPr/>
              </a:pPr>
              <a:r>
                <a:rPr lang="ru-RU" sz="1400" dirty="0">
                  <a:latin typeface="Bookman Old Style" pitchFamily="18" charset="0"/>
                </a:rPr>
                <a:t>Домашняя птица: с </a:t>
              </a:r>
              <a:r>
                <a:rPr lang="en-US" sz="1400" dirty="0">
                  <a:latin typeface="Bookman Old Style" pitchFamily="18" charset="0"/>
                </a:rPr>
                <a:t>2,841,399 </a:t>
              </a:r>
              <a:r>
                <a:rPr lang="ru-RU" sz="1400" dirty="0">
                  <a:latin typeface="Bookman Old Style" pitchFamily="18" charset="0"/>
                </a:rPr>
                <a:t>до </a:t>
              </a:r>
              <a:r>
                <a:rPr lang="en-US" sz="1400" dirty="0">
                  <a:latin typeface="Bookman Old Style" pitchFamily="18" charset="0"/>
                </a:rPr>
                <a:t>4,916,837</a:t>
              </a:r>
            </a:p>
            <a:p>
              <a:pPr marL="250578" lvl="1" indent="-125289" algn="just">
                <a:buFont typeface="Symbol" pitchFamily="18" charset="2"/>
                <a:buChar char="·"/>
                <a:defRPr/>
              </a:pPr>
              <a:r>
                <a:rPr lang="ru-RU" sz="1400" dirty="0">
                  <a:latin typeface="Bookman Old Style" pitchFamily="18" charset="0"/>
                </a:rPr>
                <a:t>Свиней: с </a:t>
              </a:r>
              <a:r>
                <a:rPr lang="en-US" sz="1400" dirty="0">
                  <a:latin typeface="Bookman Old Style" pitchFamily="18" charset="0"/>
                </a:rPr>
                <a:t>326,652 </a:t>
              </a:r>
              <a:r>
                <a:rPr lang="ru-RU" sz="1400" dirty="0">
                  <a:latin typeface="Bookman Old Style" pitchFamily="18" charset="0"/>
                </a:rPr>
                <a:t>до </a:t>
              </a:r>
              <a:r>
                <a:rPr lang="en-US" sz="1400" dirty="0">
                  <a:latin typeface="Bookman Old Style" pitchFamily="18" charset="0"/>
                </a:rPr>
                <a:t>989,316</a:t>
              </a:r>
            </a:p>
            <a:p>
              <a:pPr marL="250578" lvl="1" indent="-125289" algn="just">
                <a:buFont typeface="Symbol" pitchFamily="18" charset="2"/>
                <a:buChar char="·"/>
                <a:defRPr/>
              </a:pPr>
              <a:r>
                <a:rPr lang="ru-RU" sz="1400" dirty="0">
                  <a:latin typeface="Bookman Old Style" pitchFamily="18" charset="0"/>
                </a:rPr>
                <a:t>Коз: с </a:t>
              </a:r>
              <a:r>
                <a:rPr lang="en-US" sz="1400" dirty="0">
                  <a:latin typeface="Bookman Old Style" pitchFamily="18" charset="0"/>
                </a:rPr>
                <a:t>1,263,962 </a:t>
              </a:r>
              <a:r>
                <a:rPr lang="ru-RU" sz="1400" dirty="0">
                  <a:latin typeface="Bookman Old Style" pitchFamily="18" charset="0"/>
                </a:rPr>
                <a:t>до </a:t>
              </a:r>
              <a:r>
                <a:rPr lang="en-US" sz="1400" dirty="0">
                  <a:latin typeface="Bookman Old Style" pitchFamily="18" charset="0"/>
                </a:rPr>
                <a:t>2,672,751</a:t>
              </a:r>
            </a:p>
            <a:p>
              <a:pPr marL="250578" lvl="1" indent="-125289" algn="just">
                <a:buFont typeface="Symbol" pitchFamily="18" charset="2"/>
                <a:buChar char="·"/>
                <a:defRPr/>
              </a:pPr>
              <a:r>
                <a:rPr lang="ru-RU" sz="1400" dirty="0">
                  <a:latin typeface="Bookman Old Style" pitchFamily="18" charset="0"/>
                </a:rPr>
                <a:t>Кроликов: с </a:t>
              </a:r>
              <a:r>
                <a:rPr lang="en-US" sz="1400" dirty="0">
                  <a:latin typeface="Bookman Old Style" pitchFamily="18" charset="0"/>
                </a:rPr>
                <a:t>643,927 </a:t>
              </a:r>
              <a:r>
                <a:rPr lang="ru-RU" sz="1400" dirty="0">
                  <a:latin typeface="Bookman Old Style" pitchFamily="18" charset="0"/>
                </a:rPr>
                <a:t>до </a:t>
              </a:r>
              <a:r>
                <a:rPr lang="en-US" sz="1400" dirty="0">
                  <a:latin typeface="Bookman Old Style" pitchFamily="18" charset="0"/>
                </a:rPr>
                <a:t>1,203,485</a:t>
              </a:r>
            </a:p>
          </p:txBody>
        </p:sp>
        <p:sp>
          <p:nvSpPr>
            <p:cNvPr id="39941" name="Text Box 10">
              <a:extLst>
                <a:ext uri="{FF2B5EF4-FFF2-40B4-BE49-F238E27FC236}">
                  <a16:creationId xmlns:a16="http://schemas.microsoft.com/office/drawing/2014/main" id="{27D183A5-D7B6-4BB6-8433-37BC611FE80B}"/>
                </a:ext>
              </a:extLst>
            </p:cNvPr>
            <p:cNvSpPr txBox="1">
              <a:spLocks noChangeArrowheads="1"/>
            </p:cNvSpPr>
            <p:nvPr/>
          </p:nvSpPr>
          <p:spPr bwMode="auto">
            <a:xfrm>
              <a:off x="-3799" y="-56"/>
              <a:ext cx="18228" cy="1977"/>
            </a:xfrm>
            <a:prstGeom prst="rect">
              <a:avLst/>
            </a:prstGeom>
            <a:gradFill rotWithShape="0">
              <a:gsLst>
                <a:gs pos="0">
                  <a:schemeClr val="accent3">
                    <a:lumMod val="75000"/>
                  </a:schemeClr>
                </a:gs>
                <a:gs pos="50000">
                  <a:srgbClr val="5B9BD5"/>
                </a:gs>
                <a:gs pos="100000">
                  <a:srgbClr val="9DC3E6"/>
                </a:gs>
              </a:gsLst>
              <a:lin ang="5400000" scaled="1"/>
            </a:gradFill>
            <a:ln w="12700">
              <a:solidFill>
                <a:srgbClr val="5B9BD5"/>
              </a:solidFill>
              <a:miter lim="800000"/>
              <a:headEnd/>
              <a:tailEnd/>
            </a:ln>
            <a:effectLst>
              <a:outerShdw dist="28398" dir="3806097" algn="ctr" rotWithShape="0">
                <a:srgbClr val="1F4E79"/>
              </a:outerShdw>
            </a:effectLst>
          </p:spPr>
          <p:txBody>
            <a:bodyPr/>
            <a:lstStyle/>
            <a:p>
              <a:pPr algn="ctr">
                <a:spcAft>
                  <a:spcPts val="692"/>
                </a:spcAft>
                <a:defRPr/>
              </a:pPr>
              <a:r>
                <a:rPr lang="ru-RU" sz="1400" b="1" dirty="0">
                  <a:solidFill>
                    <a:srgbClr val="FFFFFF"/>
                  </a:solidFill>
                  <a:latin typeface="Bookman Old Style" pitchFamily="18" charset="0"/>
                  <a:ea typeface="MS PGothic" pitchFamily="34" charset="-128"/>
                </a:rPr>
                <a:t>РУАНДА</a:t>
              </a:r>
              <a:r>
                <a:rPr lang="en-GB" sz="1400" b="1" dirty="0">
                  <a:solidFill>
                    <a:srgbClr val="FFFFFF"/>
                  </a:solidFill>
                  <a:latin typeface="Bookman Old Style" pitchFamily="18" charset="0"/>
                  <a:ea typeface="MS PGothic" pitchFamily="34" charset="-128"/>
                </a:rPr>
                <a:t>: </a:t>
              </a:r>
            </a:p>
            <a:p>
              <a:pPr algn="ctr">
                <a:spcAft>
                  <a:spcPts val="692"/>
                </a:spcAft>
                <a:defRPr/>
              </a:pPr>
              <a:r>
                <a:rPr lang="ru-RU" sz="1400" b="1" cap="all" dirty="0">
                  <a:solidFill>
                    <a:srgbClr val="000000"/>
                  </a:solidFill>
                  <a:ea typeface="MS Gothic" charset="0"/>
                  <a:cs typeface="Palatino"/>
                </a:rPr>
                <a:t>Возможности инвестирования: производство животных кормов</a:t>
              </a:r>
              <a:endParaRPr lang="en-US" sz="1400" dirty="0">
                <a:ea typeface="MS PGothic" pitchFamily="34" charset="-128"/>
              </a:endParaRPr>
            </a:p>
          </p:txBody>
        </p:sp>
        <p:sp>
          <p:nvSpPr>
            <p:cNvPr id="17423" name="Text Box 11">
              <a:extLst>
                <a:ext uri="{FF2B5EF4-FFF2-40B4-BE49-F238E27FC236}">
                  <a16:creationId xmlns:a16="http://schemas.microsoft.com/office/drawing/2014/main" id="{C238C77E-A8E0-48ED-8125-11A222A28688}"/>
                </a:ext>
              </a:extLst>
            </p:cNvPr>
            <p:cNvSpPr txBox="1">
              <a:spLocks noChangeArrowheads="1"/>
            </p:cNvSpPr>
            <p:nvPr/>
          </p:nvSpPr>
          <p:spPr bwMode="auto">
            <a:xfrm>
              <a:off x="-2944" y="6926"/>
              <a:ext cx="17569" cy="4654"/>
            </a:xfrm>
            <a:prstGeom prst="rect">
              <a:avLst/>
            </a:prstGeom>
            <a:solidFill>
              <a:srgbClr val="FFFFFF"/>
            </a:solidFill>
            <a:ln w="9525">
              <a:solidFill>
                <a:srgbClr val="00B050"/>
              </a:solidFill>
              <a:miter lim="800000"/>
              <a:headEnd/>
              <a:tailEnd/>
            </a:ln>
          </p:spPr>
          <p:txBody>
            <a:bodyPr/>
            <a:lstStyle>
              <a:lvl1pPr marL="180975" indent="-180975">
                <a:defRPr>
                  <a:solidFill>
                    <a:schemeClr val="tx1"/>
                  </a:solidFill>
                  <a:latin typeface="Arial" panose="020B0604020202020204" pitchFamily="34" charset="0"/>
                  <a:ea typeface="ＭＳ Ｐゴシック" panose="020B0600070205080204" pitchFamily="34" charset="-128"/>
                </a:defRPr>
              </a:lvl1pPr>
              <a:lvl2pPr marL="180975" indent="-180975">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algn="just">
                <a:spcAft>
                  <a:spcPts val="415"/>
                </a:spcAft>
                <a:buFont typeface="Symbol" panose="05050102010706020507" pitchFamily="18" charset="2"/>
                <a:buChar char="·"/>
              </a:pPr>
              <a:r>
                <a:rPr lang="ru-RU" altLang="en-US" sz="1400" dirty="0">
                  <a:latin typeface="Bookman Old Style" panose="02050604050505020204" pitchFamily="18" charset="0"/>
                </a:rPr>
                <a:t>Государственная поддержка программы «Корова на каждую семью»</a:t>
              </a:r>
              <a:endParaRPr lang="en-US" altLang="en-US" sz="1400" dirty="0">
                <a:latin typeface="Bookman Old Style" panose="02050604050505020204" pitchFamily="18" charset="0"/>
              </a:endParaRPr>
            </a:p>
            <a:p>
              <a:pPr algn="just">
                <a:spcAft>
                  <a:spcPts val="415"/>
                </a:spcAft>
                <a:buFont typeface="Symbol" panose="05050102010706020507" pitchFamily="18" charset="2"/>
                <a:buChar char="·"/>
              </a:pPr>
              <a:r>
                <a:rPr lang="ru-RU" altLang="en-US" sz="1400" dirty="0">
                  <a:latin typeface="Bookman Old Style" panose="02050604050505020204" pitchFamily="18" charset="0"/>
                </a:rPr>
                <a:t>Государственная поддержка программы по улучшению генетических качеств скота</a:t>
              </a:r>
              <a:endParaRPr lang="en-US" altLang="en-US" sz="1400" dirty="0">
                <a:latin typeface="Bookman Old Style" panose="02050604050505020204" pitchFamily="18" charset="0"/>
              </a:endParaRPr>
            </a:p>
            <a:p>
              <a:pPr algn="just">
                <a:spcAft>
                  <a:spcPts val="415"/>
                </a:spcAft>
                <a:buFont typeface="Symbol" panose="05050102010706020507" pitchFamily="18" charset="2"/>
                <a:buChar char="·"/>
              </a:pPr>
              <a:r>
                <a:rPr lang="ru-RU" altLang="en-US" sz="1400" dirty="0">
                  <a:latin typeface="Bookman Old Style" panose="02050604050505020204" pitchFamily="18" charset="0"/>
                </a:rPr>
                <a:t>Компетентная лаборатория при Управлении СХ, которая может помочь частному сектору в обеспечении соответствия качества выпускаемой продукции и кормов требуемым стандартам</a:t>
              </a:r>
              <a:endParaRPr lang="en-US" altLang="en-US" sz="1400" dirty="0">
                <a:latin typeface="Bookman Old Style" panose="02050604050505020204" pitchFamily="18" charset="0"/>
              </a:endParaRPr>
            </a:p>
            <a:p>
              <a:pPr algn="just">
                <a:spcAft>
                  <a:spcPts val="415"/>
                </a:spcAft>
                <a:buFont typeface="Symbol" panose="05050102010706020507" pitchFamily="18" charset="2"/>
                <a:buChar char="·"/>
              </a:pPr>
              <a:r>
                <a:rPr lang="ru-RU" altLang="en-US" sz="1400" dirty="0">
                  <a:latin typeface="Bookman Old Style" panose="02050604050505020204" pitchFamily="18" charset="0"/>
                </a:rPr>
                <a:t>Благоприятный климат для производства зеленых кормов круглый год, за </a:t>
              </a:r>
              <a:r>
                <a:rPr lang="ru-RU" altLang="en-US" sz="1400" dirty="0" err="1">
                  <a:latin typeface="Bookman Old Style" panose="02050604050505020204" pitchFamily="18" charset="0"/>
                </a:rPr>
                <a:t>искл</a:t>
              </a:r>
              <a:r>
                <a:rPr lang="ru-RU" altLang="en-US" sz="1400" dirty="0">
                  <a:latin typeface="Bookman Old Style" panose="02050604050505020204" pitchFamily="18" charset="0"/>
                </a:rPr>
                <a:t>. Восточной провинции</a:t>
              </a:r>
              <a:endParaRPr lang="en-US" altLang="en-US" sz="1400" dirty="0">
                <a:latin typeface="Bookman Old Style" panose="02050604050505020204" pitchFamily="18" charset="0"/>
              </a:endParaRPr>
            </a:p>
          </p:txBody>
        </p:sp>
        <p:sp>
          <p:nvSpPr>
            <p:cNvPr id="17424" name="Text Box 13">
              <a:extLst>
                <a:ext uri="{FF2B5EF4-FFF2-40B4-BE49-F238E27FC236}">
                  <a16:creationId xmlns:a16="http://schemas.microsoft.com/office/drawing/2014/main" id="{010490BB-B86C-489B-9931-84267C0D68DA}"/>
                </a:ext>
              </a:extLst>
            </p:cNvPr>
            <p:cNvSpPr txBox="1">
              <a:spLocks noChangeArrowheads="1"/>
            </p:cNvSpPr>
            <p:nvPr/>
          </p:nvSpPr>
          <p:spPr bwMode="auto">
            <a:xfrm>
              <a:off x="-2944" y="11886"/>
              <a:ext cx="17569" cy="4190"/>
            </a:xfrm>
            <a:prstGeom prst="rect">
              <a:avLst/>
            </a:prstGeom>
            <a:solidFill>
              <a:srgbClr val="FFFFFF"/>
            </a:solidFill>
            <a:ln w="9525">
              <a:solidFill>
                <a:srgbClr val="00B050"/>
              </a:solidFill>
              <a:miter lim="800000"/>
              <a:headEnd/>
              <a:tailEnd/>
            </a:ln>
          </p:spPr>
          <p:txBody>
            <a:bodyPr/>
            <a:lstStyle>
              <a:lvl1pPr marL="180975" indent="-180975">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80975" indent="-180975">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2">
                <a:spcAft>
                  <a:spcPts val="277"/>
                </a:spcAft>
                <a:buFont typeface="Symbol" panose="05050102010706020507" pitchFamily="18" charset="2"/>
                <a:buChar char="·"/>
              </a:pPr>
              <a:r>
                <a:rPr lang="ru-RU" altLang="en-US" sz="1400" dirty="0">
                  <a:latin typeface="Bookman Old Style" panose="02050604050505020204" pitchFamily="18" charset="0"/>
                </a:rPr>
                <a:t>Производство кормов </a:t>
              </a:r>
            </a:p>
            <a:p>
              <a:pPr lvl="2">
                <a:spcAft>
                  <a:spcPts val="277"/>
                </a:spcAft>
                <a:buFont typeface="Symbol" panose="05050102010706020507" pitchFamily="18" charset="2"/>
                <a:buChar char="·"/>
              </a:pPr>
              <a:r>
                <a:rPr lang="ru-RU" altLang="en-US" sz="1400" dirty="0">
                  <a:latin typeface="Bookman Old Style" panose="02050604050505020204" pitchFamily="18" charset="0"/>
                </a:rPr>
                <a:t>Мясоперерабатывающие </a:t>
              </a:r>
              <a:r>
                <a:rPr lang="ru-RU" altLang="en-US" sz="1400" dirty="0" err="1">
                  <a:latin typeface="Bookman Old Style" panose="02050604050505020204" pitchFamily="18" charset="0"/>
                </a:rPr>
                <a:t>прозводства</a:t>
              </a:r>
              <a:r>
                <a:rPr lang="ru-RU" altLang="en-US" sz="1400" dirty="0">
                  <a:latin typeface="Bookman Old Style" panose="02050604050505020204" pitchFamily="18" charset="0"/>
                </a:rPr>
                <a:t> (птица, свинина)</a:t>
              </a:r>
            </a:p>
            <a:p>
              <a:pPr>
                <a:spcAft>
                  <a:spcPts val="277"/>
                </a:spcAft>
                <a:buFont typeface="Symbol" panose="05050102010706020507" pitchFamily="18" charset="2"/>
                <a:buChar char="·"/>
              </a:pPr>
              <a:r>
                <a:rPr lang="ru-RU" altLang="en-US" sz="1400" dirty="0">
                  <a:latin typeface="Bookman Old Style" panose="02050604050505020204" pitchFamily="18" charset="0"/>
                </a:rPr>
                <a:t>Расширение ассортимента кормов </a:t>
              </a:r>
            </a:p>
            <a:p>
              <a:pPr>
                <a:spcAft>
                  <a:spcPts val="277"/>
                </a:spcAft>
                <a:buFont typeface="Symbol" panose="05050102010706020507" pitchFamily="18" charset="2"/>
                <a:buChar char="·"/>
              </a:pPr>
              <a:r>
                <a:rPr lang="ru-RU" altLang="en-US" sz="1400" dirty="0">
                  <a:latin typeface="Bookman Old Style" panose="02050604050505020204" pitchFamily="18" charset="0"/>
                </a:rPr>
                <a:t>Большое разнообразие фуражных кормов, </a:t>
              </a:r>
              <a:r>
                <a:rPr lang="en-US" altLang="en-US" sz="1400" dirty="0">
                  <a:latin typeface="Bookman Old Style" panose="02050604050505020204" pitchFamily="18" charset="0"/>
                </a:rPr>
                <a:t>, </a:t>
              </a:r>
              <a:r>
                <a:rPr lang="ru-RU" altLang="en-US" sz="1400" dirty="0">
                  <a:latin typeface="Bookman Old Style" panose="02050604050505020204" pitchFamily="18" charset="0"/>
                </a:rPr>
                <a:t>послеуборочных растительных отходов, и др. </a:t>
              </a:r>
              <a:r>
                <a:rPr lang="ru-RU" altLang="en-US" sz="1400" dirty="0" err="1">
                  <a:latin typeface="Bookman Old Style" panose="02050604050505020204" pitchFamily="18" charset="0"/>
                </a:rPr>
                <a:t>агро</a:t>
              </a:r>
              <a:r>
                <a:rPr lang="ru-RU" altLang="en-US" sz="1400" dirty="0">
                  <a:latin typeface="Bookman Old Style" panose="02050604050505020204" pitchFamily="18" charset="0"/>
                </a:rPr>
                <a:t>-промышленных продуктов, пригодных для кормления скота</a:t>
              </a:r>
            </a:p>
            <a:p>
              <a:pPr>
                <a:spcAft>
                  <a:spcPts val="277"/>
                </a:spcAft>
                <a:buFont typeface="Symbol" panose="05050102010706020507" pitchFamily="18" charset="2"/>
                <a:buChar char="·"/>
              </a:pPr>
              <a:r>
                <a:rPr lang="ru-RU" altLang="en-US" sz="1400" dirty="0">
                  <a:latin typeface="Bookman Old Style" panose="02050604050505020204" pitchFamily="18" charset="0"/>
                </a:rPr>
                <a:t>Малая конкуренция</a:t>
              </a:r>
              <a:endParaRPr lang="en-US" altLang="en-US" sz="1400" dirty="0">
                <a:latin typeface="Bookman Old Style" panose="02050604050505020204" pitchFamily="18" charset="0"/>
              </a:endParaRPr>
            </a:p>
          </p:txBody>
        </p:sp>
      </p:grpSp>
      <p:sp>
        <p:nvSpPr>
          <p:cNvPr id="17411" name="Rectangle 14">
            <a:extLst>
              <a:ext uri="{FF2B5EF4-FFF2-40B4-BE49-F238E27FC236}">
                <a16:creationId xmlns:a16="http://schemas.microsoft.com/office/drawing/2014/main" id="{621DBA65-D200-4A99-8B5B-E45BEF485F15}"/>
              </a:ext>
            </a:extLst>
          </p:cNvPr>
          <p:cNvSpPr>
            <a:spLocks noChangeArrowheads="1"/>
          </p:cNvSpPr>
          <p:nvPr/>
        </p:nvSpPr>
        <p:spPr bwMode="auto">
          <a:xfrm>
            <a:off x="2198077" y="-142026"/>
            <a:ext cx="184731" cy="284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GB" altLang="en-US" sz="1246"/>
          </a:p>
        </p:txBody>
      </p:sp>
      <p:sp>
        <p:nvSpPr>
          <p:cNvPr id="17412" name="Rectangle 15">
            <a:extLst>
              <a:ext uri="{FF2B5EF4-FFF2-40B4-BE49-F238E27FC236}">
                <a16:creationId xmlns:a16="http://schemas.microsoft.com/office/drawing/2014/main" id="{100458DE-2A75-497F-A74B-70A3A4A4B868}"/>
              </a:ext>
            </a:extLst>
          </p:cNvPr>
          <p:cNvSpPr>
            <a:spLocks noChangeArrowheads="1"/>
          </p:cNvSpPr>
          <p:nvPr/>
        </p:nvSpPr>
        <p:spPr bwMode="auto">
          <a:xfrm>
            <a:off x="2198077" y="1987911"/>
            <a:ext cx="184731" cy="284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GB" altLang="en-US" sz="1246"/>
          </a:p>
        </p:txBody>
      </p:sp>
      <p:pic>
        <p:nvPicPr>
          <p:cNvPr id="17414" name="Picture 9" descr="RWAN0001.GIF">
            <a:extLst>
              <a:ext uri="{FF2B5EF4-FFF2-40B4-BE49-F238E27FC236}">
                <a16:creationId xmlns:a16="http://schemas.microsoft.com/office/drawing/2014/main" id="{01AA41D7-FCE4-4D99-A1E2-89726D6C3882}"/>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0" y="6507407"/>
            <a:ext cx="522044" cy="350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5" name="Picture 9" descr="http://tonyblairoffice.org/page/-/images/agi/rdb%20logo.jpg">
            <a:extLst>
              <a:ext uri="{FF2B5EF4-FFF2-40B4-BE49-F238E27FC236}">
                <a16:creationId xmlns:a16="http://schemas.microsoft.com/office/drawing/2014/main" id="{67F690DD-6274-455C-B693-80A3BA23DA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10967" y="6588736"/>
            <a:ext cx="461596" cy="269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Placeholder 2">
            <a:extLst>
              <a:ext uri="{FF2B5EF4-FFF2-40B4-BE49-F238E27FC236}">
                <a16:creationId xmlns:a16="http://schemas.microsoft.com/office/drawing/2014/main" id="{4C446D3C-ECE4-4259-9246-974986B9E156}"/>
              </a:ext>
            </a:extLst>
          </p:cNvPr>
          <p:cNvSpPr txBox="1">
            <a:spLocks/>
          </p:cNvSpPr>
          <p:nvPr>
            <p:custDataLst>
              <p:tags r:id="rId1"/>
            </p:custDataLst>
          </p:nvPr>
        </p:nvSpPr>
        <p:spPr>
          <a:xfrm rot="16200000">
            <a:off x="147187" y="1645810"/>
            <a:ext cx="1479306" cy="192332"/>
          </a:xfrm>
          <a:prstGeom prst="rect">
            <a:avLst/>
          </a:prstGeom>
          <a:solidFill>
            <a:srgbClr val="007E01"/>
          </a:solidFill>
          <a:ln>
            <a:solidFill>
              <a:srgbClr val="008000"/>
            </a:solidFill>
          </a:ln>
        </p:spPr>
        <p:txBody>
          <a:bodyPr lIns="25322" tIns="12661" rIns="25322" bIns="12661" anchor="ctr"/>
          <a:lstStyle/>
          <a:p>
            <a:pPr marL="237390" indent="-237390" algn="ctr">
              <a:lnSpc>
                <a:spcPct val="120000"/>
              </a:lnSpc>
              <a:buClr>
                <a:srgbClr val="000000"/>
              </a:buClr>
              <a:buSzPct val="100000"/>
              <a:defRPr/>
            </a:pPr>
            <a:r>
              <a:rPr lang="ru-RU" sz="831" dirty="0">
                <a:solidFill>
                  <a:schemeClr val="bg1">
                    <a:lumMod val="95000"/>
                  </a:schemeClr>
                </a:solidFill>
                <a:effectLst>
                  <a:outerShdw blurRad="38100" dist="38100" dir="2700000" algn="tl">
                    <a:srgbClr val="000000"/>
                  </a:outerShdw>
                </a:effectLst>
                <a:latin typeface="Helvetica Neue" charset="0"/>
              </a:rPr>
              <a:t>РЫНОК</a:t>
            </a:r>
            <a:endParaRPr lang="en-GB" sz="831" dirty="0">
              <a:solidFill>
                <a:schemeClr val="bg1">
                  <a:lumMod val="95000"/>
                </a:schemeClr>
              </a:solidFill>
              <a:effectLst>
                <a:outerShdw blurRad="38100" dist="38100" dir="2700000" algn="tl">
                  <a:srgbClr val="000000"/>
                </a:outerShdw>
              </a:effectLst>
              <a:latin typeface="Helvetica Neue" charset="0"/>
            </a:endParaRPr>
          </a:p>
        </p:txBody>
      </p:sp>
      <p:sp>
        <p:nvSpPr>
          <p:cNvPr id="22" name="Text Placeholder 2">
            <a:extLst>
              <a:ext uri="{FF2B5EF4-FFF2-40B4-BE49-F238E27FC236}">
                <a16:creationId xmlns:a16="http://schemas.microsoft.com/office/drawing/2014/main" id="{0E9308F7-AD71-4C77-A7B5-4B2E5134A616}"/>
              </a:ext>
            </a:extLst>
          </p:cNvPr>
          <p:cNvSpPr txBox="1">
            <a:spLocks/>
          </p:cNvSpPr>
          <p:nvPr>
            <p:custDataLst>
              <p:tags r:id="rId2"/>
            </p:custDataLst>
          </p:nvPr>
        </p:nvSpPr>
        <p:spPr>
          <a:xfrm rot="16200000">
            <a:off x="208185" y="5732585"/>
            <a:ext cx="1318846" cy="230798"/>
          </a:xfrm>
          <a:prstGeom prst="rect">
            <a:avLst/>
          </a:prstGeom>
          <a:solidFill>
            <a:srgbClr val="3366FF"/>
          </a:solidFill>
          <a:ln>
            <a:solidFill>
              <a:srgbClr val="3366FF"/>
            </a:solidFill>
          </a:ln>
        </p:spPr>
        <p:txBody>
          <a:bodyPr lIns="0" tIns="0" rIns="0" bIns="0" anchor="ctr"/>
          <a:lstStyle>
            <a:lvl1pPr marL="342900" indent="-342900"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ts val="831"/>
              </a:lnSpc>
              <a:defRPr/>
            </a:pPr>
            <a:r>
              <a:rPr lang="ru-RU" sz="831" b="1" dirty="0">
                <a:solidFill>
                  <a:schemeClr val="bg1"/>
                </a:solidFill>
                <a:effectLst>
                  <a:outerShdw blurRad="38100" dist="38100" dir="2700000" algn="tl">
                    <a:srgbClr val="000000"/>
                  </a:outerShdw>
                </a:effectLst>
                <a:latin typeface="Helvetica Neue" charset="0"/>
              </a:rPr>
              <a:t>ИНВЕСТИЦИОННЫЕ ВОЗМОЖНОСТИ</a:t>
            </a:r>
            <a:endParaRPr lang="en-GB" sz="831" b="1" dirty="0">
              <a:solidFill>
                <a:schemeClr val="bg1"/>
              </a:solidFill>
              <a:effectLst>
                <a:outerShdw blurRad="38100" dist="38100" dir="2700000" algn="tl">
                  <a:srgbClr val="000000"/>
                </a:outerShdw>
              </a:effectLst>
              <a:latin typeface="Helvetica Neue" charset="0"/>
            </a:endParaRPr>
          </a:p>
        </p:txBody>
      </p:sp>
      <p:sp>
        <p:nvSpPr>
          <p:cNvPr id="17418" name="Text Placeholder 2">
            <a:extLst>
              <a:ext uri="{FF2B5EF4-FFF2-40B4-BE49-F238E27FC236}">
                <a16:creationId xmlns:a16="http://schemas.microsoft.com/office/drawing/2014/main" id="{058E1106-8DB5-4D78-9800-DD076AE60E93}"/>
              </a:ext>
            </a:extLst>
          </p:cNvPr>
          <p:cNvSpPr txBox="1">
            <a:spLocks/>
          </p:cNvSpPr>
          <p:nvPr>
            <p:custDataLst>
              <p:tags r:id="rId3"/>
            </p:custDataLst>
          </p:nvPr>
        </p:nvSpPr>
        <p:spPr bwMode="auto">
          <a:xfrm rot="16200000">
            <a:off x="262039" y="3823133"/>
            <a:ext cx="1221031" cy="220906"/>
          </a:xfrm>
          <a:prstGeom prst="rect">
            <a:avLst/>
          </a:prstGeom>
          <a:solidFill>
            <a:srgbClr val="FFFF66"/>
          </a:solidFill>
          <a:ln w="9525">
            <a:solidFill>
              <a:srgbClr val="FFFF00"/>
            </a:solidFill>
            <a:miter lim="800000"/>
            <a:headEnd/>
            <a:tailEnd/>
          </a:ln>
        </p:spPr>
        <p:txBody>
          <a:bodyPr lIns="25322" tIns="12661" rIns="25322" bIns="12661" anchor="ctr"/>
          <a:lstStyle>
            <a:lvl1pPr marL="342900" indent="-34290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lnSpc>
                <a:spcPct val="120000"/>
              </a:lnSpc>
              <a:buClr>
                <a:srgbClr val="000000"/>
              </a:buClr>
              <a:buSzPct val="100000"/>
              <a:buFont typeface="Arial" panose="020B0604020202020204" pitchFamily="34" charset="0"/>
              <a:buNone/>
            </a:pPr>
            <a:r>
              <a:rPr lang="ru-RU" altLang="en-US" sz="831" b="1" dirty="0">
                <a:latin typeface="Helvetica Neue" charset="0"/>
              </a:rPr>
              <a:t>ПРЕИМУЩЕСТВА</a:t>
            </a:r>
            <a:endParaRPr lang="en-GB" altLang="en-US" sz="831" b="1" dirty="0">
              <a:latin typeface="Helvetica Neue" charset="0"/>
            </a:endParaRPr>
          </a:p>
        </p:txBody>
      </p:sp>
    </p:spTree>
    <p:extLst>
      <p:ext uri="{BB962C8B-B14F-4D97-AF65-F5344CB8AC3E}">
        <p14:creationId xmlns:p14="http://schemas.microsoft.com/office/powerpoint/2010/main" val="13842297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Text Placeholder 2">
            <a:extLst>
              <a:ext uri="{FF2B5EF4-FFF2-40B4-BE49-F238E27FC236}">
                <a16:creationId xmlns:a16="http://schemas.microsoft.com/office/drawing/2014/main" id="{B3A182FB-F6AF-48EB-9077-EB3F1961D0F9}"/>
              </a:ext>
            </a:extLst>
          </p:cNvPr>
          <p:cNvSpPr txBox="1">
            <a:spLocks/>
          </p:cNvSpPr>
          <p:nvPr>
            <p:custDataLst>
              <p:tags r:id="rId2"/>
            </p:custDataLst>
          </p:nvPr>
        </p:nvSpPr>
        <p:spPr bwMode="auto">
          <a:xfrm rot="16200000">
            <a:off x="3261949" y="310661"/>
            <a:ext cx="1404571" cy="5254136"/>
          </a:xfrm>
          <a:prstGeom prst="rect">
            <a:avLst/>
          </a:prstGeom>
          <a:noFill/>
          <a:ln w="9525">
            <a:solidFill>
              <a:srgbClr val="FFFF00"/>
            </a:solidFill>
            <a:miter lim="800000"/>
            <a:headEnd/>
            <a:tailEnd/>
          </a:ln>
          <a:extLst>
            <a:ext uri="{909E8E84-426E-40DD-AFC4-6F175D3DCCD1}">
              <a14:hiddenFill xmlns:a14="http://schemas.microsoft.com/office/drawing/2010/main">
                <a:solidFill>
                  <a:srgbClr val="FFFFFF"/>
                </a:solidFill>
              </a14:hiddenFill>
            </a:ext>
          </a:extLst>
        </p:spPr>
        <p:txBody>
          <a:bodyPr lIns="25322" tIns="12661" rIns="25322" bIns="12661" anchor="ctr"/>
          <a:lstStyle>
            <a:lvl1pPr marL="342900" indent="-34290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120000"/>
              </a:lnSpc>
              <a:buFont typeface="Arial" panose="020B0604020202020204" pitchFamily="34" charset="0"/>
              <a:buNone/>
            </a:pPr>
            <a:endParaRPr lang="en-GB" altLang="en-US" sz="831">
              <a:latin typeface="Helvetica Neue" charset="0"/>
            </a:endParaRPr>
          </a:p>
        </p:txBody>
      </p:sp>
      <p:sp>
        <p:nvSpPr>
          <p:cNvPr id="50" name="Text Placeholder 2">
            <a:extLst>
              <a:ext uri="{FF2B5EF4-FFF2-40B4-BE49-F238E27FC236}">
                <a16:creationId xmlns:a16="http://schemas.microsoft.com/office/drawing/2014/main" id="{9922EB2D-EC3D-416F-BD85-4DFF58851CD3}"/>
              </a:ext>
            </a:extLst>
          </p:cNvPr>
          <p:cNvSpPr txBox="1">
            <a:spLocks/>
          </p:cNvSpPr>
          <p:nvPr>
            <p:custDataLst>
              <p:tags r:id="rId3"/>
            </p:custDataLst>
          </p:nvPr>
        </p:nvSpPr>
        <p:spPr>
          <a:xfrm rot="16200000">
            <a:off x="3215055" y="2042380"/>
            <a:ext cx="2056302" cy="6029687"/>
          </a:xfrm>
          <a:prstGeom prst="rect">
            <a:avLst/>
          </a:prstGeom>
          <a:noFill/>
          <a:ln>
            <a:solidFill>
              <a:srgbClr val="3366FF"/>
            </a:solidFill>
          </a:ln>
        </p:spPr>
        <p:txBody>
          <a:bodyPr lIns="0" tIns="0" rIns="0" bIns="0" anchor="ctr"/>
          <a:lstStyle>
            <a:lvl1pPr marL="342900" indent="-342900"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lnSpc>
                <a:spcPts val="831"/>
              </a:lnSpc>
              <a:defRPr/>
            </a:pPr>
            <a:endParaRPr lang="en-GB" sz="831" dirty="0">
              <a:solidFill>
                <a:schemeClr val="bg1"/>
              </a:solidFill>
              <a:effectLst>
                <a:outerShdw blurRad="38100" dist="38100" dir="2700000" algn="tl">
                  <a:srgbClr val="000000"/>
                </a:outerShdw>
              </a:effectLst>
              <a:latin typeface="Helvetica Neue" charset="0"/>
              <a:cs typeface="Helvetica Neue" charset="0"/>
            </a:endParaRPr>
          </a:p>
        </p:txBody>
      </p:sp>
      <p:sp>
        <p:nvSpPr>
          <p:cNvPr id="48" name="Text Placeholder 2">
            <a:extLst>
              <a:ext uri="{FF2B5EF4-FFF2-40B4-BE49-F238E27FC236}">
                <a16:creationId xmlns:a16="http://schemas.microsoft.com/office/drawing/2014/main" id="{7E8FA64C-4BE8-4D08-91C1-800D4453323F}"/>
              </a:ext>
            </a:extLst>
          </p:cNvPr>
          <p:cNvSpPr txBox="1">
            <a:spLocks/>
          </p:cNvSpPr>
          <p:nvPr>
            <p:custDataLst>
              <p:tags r:id="rId4"/>
            </p:custDataLst>
          </p:nvPr>
        </p:nvSpPr>
        <p:spPr>
          <a:xfrm rot="16200000">
            <a:off x="4116452" y="-2109601"/>
            <a:ext cx="1460622" cy="7019194"/>
          </a:xfrm>
          <a:prstGeom prst="rect">
            <a:avLst/>
          </a:prstGeom>
          <a:noFill/>
          <a:ln>
            <a:solidFill>
              <a:srgbClr val="008000"/>
            </a:solidFill>
          </a:ln>
        </p:spPr>
        <p:txBody>
          <a:bodyPr lIns="25322" tIns="12661" rIns="25322" bIns="12661" anchor="ctr"/>
          <a:lstStyle>
            <a:lvl1pPr marL="342900" indent="-342900"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lnSpc>
                <a:spcPct val="120000"/>
              </a:lnSpc>
              <a:buFont typeface="Arial" charset="0"/>
              <a:buNone/>
              <a:defRPr/>
            </a:pPr>
            <a:endParaRPr lang="en-GB" sz="969" dirty="0">
              <a:solidFill>
                <a:schemeClr val="bg1"/>
              </a:solidFill>
              <a:effectLst>
                <a:outerShdw blurRad="38100" dist="38100" dir="2700000" algn="tl">
                  <a:srgbClr val="000000"/>
                </a:outerShdw>
              </a:effectLst>
              <a:latin typeface="Helvetica Neue" charset="0"/>
              <a:cs typeface="Helvetica Neue" charset="0"/>
            </a:endParaRPr>
          </a:p>
        </p:txBody>
      </p:sp>
      <p:graphicFrame>
        <p:nvGraphicFramePr>
          <p:cNvPr id="18438" name="Object 51">
            <a:extLst>
              <a:ext uri="{FF2B5EF4-FFF2-40B4-BE49-F238E27FC236}">
                <a16:creationId xmlns:a16="http://schemas.microsoft.com/office/drawing/2014/main" id="{14F7F6C9-A41E-4B89-8D91-CF894BEB19BE}"/>
              </a:ext>
            </a:extLst>
          </p:cNvPr>
          <p:cNvGraphicFramePr>
            <a:graphicFrameLocks noChangeAspect="1"/>
          </p:cNvGraphicFramePr>
          <p:nvPr/>
        </p:nvGraphicFramePr>
        <p:xfrm>
          <a:off x="2198077" y="0"/>
          <a:ext cx="109904" cy="109904"/>
        </p:xfrm>
        <a:graphic>
          <a:graphicData uri="http://schemas.openxmlformats.org/presentationml/2006/ole">
            <mc:AlternateContent xmlns:mc="http://schemas.openxmlformats.org/markup-compatibility/2006">
              <mc:Choice xmlns:v="urn:schemas-microsoft-com:vml" Requires="v">
                <p:oleObj spid="_x0000_s5131" name="think-cell Slide" r:id="rId17" imgW="38100" imgH="38100" progId="">
                  <p:embed/>
                </p:oleObj>
              </mc:Choice>
              <mc:Fallback>
                <p:oleObj name="think-cell Slide" r:id="rId17" imgW="38100" imgH="38100" progId="">
                  <p:embed/>
                  <p:pic>
                    <p:nvPicPr>
                      <p:cNvPr id="18438" name="Object 51">
                        <a:extLst>
                          <a:ext uri="{FF2B5EF4-FFF2-40B4-BE49-F238E27FC236}">
                            <a16:creationId xmlns:a16="http://schemas.microsoft.com/office/drawing/2014/main" id="{14F7F6C9-A41E-4B89-8D91-CF894BEB19B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98077" y="0"/>
                        <a:ext cx="109904" cy="109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Rectangle 46" hidden="1">
            <a:extLst>
              <a:ext uri="{FF2B5EF4-FFF2-40B4-BE49-F238E27FC236}">
                <a16:creationId xmlns:a16="http://schemas.microsoft.com/office/drawing/2014/main" id="{711D96BF-23A1-4165-9E79-35CD2BADF541}"/>
              </a:ext>
            </a:extLst>
          </p:cNvPr>
          <p:cNvSpPr/>
          <p:nvPr>
            <p:custDataLst>
              <p:tags r:id="rId5"/>
            </p:custDataLst>
          </p:nvPr>
        </p:nvSpPr>
        <p:spPr bwMode="auto">
          <a:xfrm>
            <a:off x="2198077" y="0"/>
            <a:ext cx="109904" cy="109904"/>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defRPr/>
            </a:pPr>
            <a:endParaRPr lang="en-US" sz="415">
              <a:cs typeface="Calibri"/>
              <a:sym typeface="Calibri"/>
            </a:endParaRPr>
          </a:p>
        </p:txBody>
      </p:sp>
      <p:sp>
        <p:nvSpPr>
          <p:cNvPr id="18440" name="Text Placeholder 2">
            <a:extLst>
              <a:ext uri="{FF2B5EF4-FFF2-40B4-BE49-F238E27FC236}">
                <a16:creationId xmlns:a16="http://schemas.microsoft.com/office/drawing/2014/main" id="{E221C611-C730-4DF4-AB4B-A4D1C32C84CC}"/>
              </a:ext>
            </a:extLst>
          </p:cNvPr>
          <p:cNvSpPr>
            <a:spLocks noGrp="1"/>
          </p:cNvSpPr>
          <p:nvPr>
            <p:custDataLst>
              <p:tags r:id="rId6"/>
            </p:custDataLst>
          </p:nvPr>
        </p:nvSpPr>
        <p:spPr bwMode="auto">
          <a:xfrm>
            <a:off x="2984989" y="2933335"/>
            <a:ext cx="265967" cy="94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buSzPct val="25000"/>
              <a:buFont typeface="Arial" panose="020B0604020202020204" pitchFamily="34" charset="0"/>
              <a:buNone/>
            </a:pPr>
            <a:endParaRPr lang="en-US" altLang="en-US" sz="623">
              <a:latin typeface="Calibri" panose="020F0502020204030204" pitchFamily="34" charset="0"/>
              <a:sym typeface="Calibri" panose="020F0502020204030204" pitchFamily="34" charset="0"/>
            </a:endParaRPr>
          </a:p>
        </p:txBody>
      </p:sp>
      <p:sp>
        <p:nvSpPr>
          <p:cNvPr id="26" name="TextBox 25">
            <a:extLst>
              <a:ext uri="{FF2B5EF4-FFF2-40B4-BE49-F238E27FC236}">
                <a16:creationId xmlns:a16="http://schemas.microsoft.com/office/drawing/2014/main" id="{CC6B4B45-3A56-4068-B558-B73834941C97}"/>
              </a:ext>
            </a:extLst>
          </p:cNvPr>
          <p:cNvSpPr txBox="1"/>
          <p:nvPr>
            <p:custDataLst>
              <p:tags r:id="rId7"/>
            </p:custDataLst>
          </p:nvPr>
        </p:nvSpPr>
        <p:spPr>
          <a:xfrm>
            <a:off x="2312377" y="404446"/>
            <a:ext cx="4495067" cy="96715"/>
          </a:xfrm>
          <a:prstGeom prst="rect">
            <a:avLst/>
          </a:prstGeom>
          <a:solidFill>
            <a:schemeClr val="tx1">
              <a:lumMod val="65000"/>
              <a:lumOff val="35000"/>
            </a:schemeClr>
          </a:solidFill>
          <a:ln>
            <a:noFill/>
          </a:ln>
        </p:spPr>
        <p:txBody>
          <a:bodyPr lIns="0" tIns="0" rIns="0" bIns="0"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defRPr/>
            </a:pPr>
            <a:endParaRPr lang="en-GB" sz="969" b="1" dirty="0">
              <a:solidFill>
                <a:schemeClr val="bg1"/>
              </a:solidFill>
              <a:latin typeface="+mn-lt"/>
            </a:endParaRPr>
          </a:p>
        </p:txBody>
      </p:sp>
      <p:sp>
        <p:nvSpPr>
          <p:cNvPr id="18442" name="Text Placeholder 2">
            <a:extLst>
              <a:ext uri="{FF2B5EF4-FFF2-40B4-BE49-F238E27FC236}">
                <a16:creationId xmlns:a16="http://schemas.microsoft.com/office/drawing/2014/main" id="{32B03375-3063-4529-9B2C-0391ADCD5E88}"/>
              </a:ext>
            </a:extLst>
          </p:cNvPr>
          <p:cNvSpPr>
            <a:spLocks noGrp="1"/>
          </p:cNvSpPr>
          <p:nvPr>
            <p:custDataLst>
              <p:tags r:id="rId8"/>
            </p:custDataLst>
          </p:nvPr>
        </p:nvSpPr>
        <p:spPr bwMode="auto">
          <a:xfrm>
            <a:off x="2984989" y="2933335"/>
            <a:ext cx="265967" cy="94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buSzPct val="25000"/>
              <a:buFont typeface="Arial" panose="020B0604020202020204" pitchFamily="34" charset="0"/>
              <a:buNone/>
            </a:pPr>
            <a:endParaRPr lang="en-US" altLang="en-US" sz="623">
              <a:latin typeface="Calibri" panose="020F0502020204030204" pitchFamily="34" charset="0"/>
              <a:sym typeface="Calibri" panose="020F0502020204030204" pitchFamily="34" charset="0"/>
            </a:endParaRPr>
          </a:p>
        </p:txBody>
      </p:sp>
      <p:sp>
        <p:nvSpPr>
          <p:cNvPr id="28" name="Text Placeholder 2">
            <a:extLst>
              <a:ext uri="{FF2B5EF4-FFF2-40B4-BE49-F238E27FC236}">
                <a16:creationId xmlns:a16="http://schemas.microsoft.com/office/drawing/2014/main" id="{031A5C87-FEF2-4318-943C-31EC02D020FD}"/>
              </a:ext>
            </a:extLst>
          </p:cNvPr>
          <p:cNvSpPr txBox="1">
            <a:spLocks/>
          </p:cNvSpPr>
          <p:nvPr>
            <p:custDataLst>
              <p:tags r:id="rId9"/>
            </p:custDataLst>
          </p:nvPr>
        </p:nvSpPr>
        <p:spPr>
          <a:xfrm rot="16200000">
            <a:off x="224387" y="1237702"/>
            <a:ext cx="1375268" cy="409943"/>
          </a:xfrm>
          <a:prstGeom prst="rect">
            <a:avLst/>
          </a:prstGeom>
          <a:solidFill>
            <a:srgbClr val="007E01"/>
          </a:solidFill>
          <a:ln>
            <a:solidFill>
              <a:srgbClr val="008000"/>
            </a:solidFill>
          </a:ln>
        </p:spPr>
        <p:txBody>
          <a:bodyPr lIns="25322" tIns="12661" rIns="25322" bIns="12661" anchor="ctr"/>
          <a:lstStyle>
            <a:lvl1pPr marL="342900" indent="-342900"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ct val="120000"/>
              </a:lnSpc>
              <a:buFont typeface="Arial" panose="020B0604020202020204" pitchFamily="34" charset="0"/>
              <a:buNone/>
              <a:defRPr/>
            </a:pPr>
            <a:r>
              <a:rPr lang="ru-RU" sz="831" b="1" dirty="0">
                <a:solidFill>
                  <a:schemeClr val="bg1"/>
                </a:solidFill>
                <a:effectLst>
                  <a:outerShdw blurRad="38100" dist="38100" dir="2700000" algn="tl">
                    <a:srgbClr val="000000"/>
                  </a:outerShdw>
                </a:effectLst>
                <a:latin typeface="Helvetica Neue" charset="0"/>
              </a:rPr>
              <a:t>РЫНОК</a:t>
            </a:r>
            <a:endParaRPr lang="en-GB" sz="831" b="1" dirty="0">
              <a:solidFill>
                <a:schemeClr val="bg1"/>
              </a:solidFill>
              <a:effectLst>
                <a:outerShdw blurRad="38100" dist="38100" dir="2700000" algn="tl">
                  <a:srgbClr val="000000"/>
                </a:outerShdw>
              </a:effectLst>
              <a:latin typeface="Helvetica Neue" charset="0"/>
            </a:endParaRPr>
          </a:p>
        </p:txBody>
      </p:sp>
      <p:sp>
        <p:nvSpPr>
          <p:cNvPr id="1036" name="TextBox 29">
            <a:extLst>
              <a:ext uri="{FF2B5EF4-FFF2-40B4-BE49-F238E27FC236}">
                <a16:creationId xmlns:a16="http://schemas.microsoft.com/office/drawing/2014/main" id="{7F495649-8753-4106-A65C-C151DCB60F6C}"/>
              </a:ext>
            </a:extLst>
          </p:cNvPr>
          <p:cNvSpPr txBox="1">
            <a:spLocks noChangeArrowheads="1"/>
          </p:cNvSpPr>
          <p:nvPr>
            <p:custDataLst>
              <p:tags r:id="rId10"/>
            </p:custDataLst>
          </p:nvPr>
        </p:nvSpPr>
        <p:spPr bwMode="auto">
          <a:xfrm>
            <a:off x="2528888" y="4550020"/>
            <a:ext cx="4348895" cy="612530"/>
          </a:xfrm>
          <a:prstGeom prst="rect">
            <a:avLst/>
          </a:prstGeom>
          <a:noFill/>
          <a:ln w="9525">
            <a:noFill/>
            <a:miter lim="800000"/>
            <a:headEnd/>
            <a:tailEnd/>
          </a:ln>
        </p:spPr>
        <p:txBody>
          <a:bodyPr lIns="0" rIns="0" anchor="ctr"/>
          <a:lstStyle/>
          <a:p>
            <a:pPr marL="118695" indent="-118695">
              <a:spcAft>
                <a:spcPts val="277"/>
              </a:spcAft>
              <a:buFont typeface="Wingdings" pitchFamily="2" charset="2"/>
              <a:buChar char="Ø"/>
              <a:defRPr/>
            </a:pPr>
            <a:endParaRPr lang="en-US" altLang="en-US" sz="1108" dirty="0"/>
          </a:p>
        </p:txBody>
      </p:sp>
      <p:sp>
        <p:nvSpPr>
          <p:cNvPr id="31" name="Text Placeholder 2">
            <a:extLst>
              <a:ext uri="{FF2B5EF4-FFF2-40B4-BE49-F238E27FC236}">
                <a16:creationId xmlns:a16="http://schemas.microsoft.com/office/drawing/2014/main" id="{D3593237-7B40-4C1A-91CB-98CE9E36AF78}"/>
              </a:ext>
            </a:extLst>
          </p:cNvPr>
          <p:cNvSpPr txBox="1">
            <a:spLocks/>
          </p:cNvSpPr>
          <p:nvPr>
            <p:custDataLst>
              <p:tags r:id="rId11"/>
            </p:custDataLst>
          </p:nvPr>
        </p:nvSpPr>
        <p:spPr>
          <a:xfrm rot="16200000">
            <a:off x="58458" y="4707020"/>
            <a:ext cx="1496112" cy="348393"/>
          </a:xfrm>
          <a:prstGeom prst="rect">
            <a:avLst/>
          </a:prstGeom>
          <a:solidFill>
            <a:srgbClr val="3366FF"/>
          </a:solidFill>
          <a:ln>
            <a:solidFill>
              <a:srgbClr val="3366FF"/>
            </a:solidFill>
          </a:ln>
        </p:spPr>
        <p:txBody>
          <a:bodyPr lIns="0" tIns="0" rIns="0" bIns="0" anchor="ctr"/>
          <a:lstStyle>
            <a:lvl1pPr marL="342900" indent="-342900"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ts val="831"/>
              </a:lnSpc>
              <a:defRPr/>
            </a:pPr>
            <a:r>
              <a:rPr lang="ru-RU" sz="831" b="1" dirty="0">
                <a:solidFill>
                  <a:schemeClr val="bg1"/>
                </a:solidFill>
                <a:effectLst>
                  <a:outerShdw blurRad="38100" dist="38100" dir="2700000" algn="tl">
                    <a:srgbClr val="000000"/>
                  </a:outerShdw>
                </a:effectLst>
                <a:latin typeface="Helvetica Neue" charset="0"/>
              </a:rPr>
              <a:t>ИНВЕСТИЦИОННЫЕ</a:t>
            </a:r>
            <a:r>
              <a:rPr lang="en-US" sz="831" b="1" dirty="0">
                <a:solidFill>
                  <a:schemeClr val="bg1"/>
                </a:solidFill>
                <a:effectLst>
                  <a:outerShdw blurRad="38100" dist="38100" dir="2700000" algn="tl">
                    <a:srgbClr val="000000"/>
                  </a:outerShdw>
                </a:effectLst>
                <a:latin typeface="Helvetica Neue" charset="0"/>
              </a:rPr>
              <a:t> </a:t>
            </a:r>
            <a:r>
              <a:rPr lang="ru-RU" sz="831" b="1" dirty="0">
                <a:solidFill>
                  <a:schemeClr val="bg1"/>
                </a:solidFill>
                <a:effectLst>
                  <a:outerShdw blurRad="38100" dist="38100" dir="2700000" algn="tl">
                    <a:srgbClr val="000000"/>
                  </a:outerShdw>
                </a:effectLst>
                <a:latin typeface="Helvetica Neue" charset="0"/>
              </a:rPr>
              <a:t>ВОЗМОЖНОСТИ</a:t>
            </a:r>
            <a:endParaRPr lang="en-GB" sz="831" b="1" dirty="0">
              <a:solidFill>
                <a:schemeClr val="bg1"/>
              </a:solidFill>
              <a:effectLst>
                <a:outerShdw blurRad="38100" dist="38100" dir="2700000" algn="tl">
                  <a:srgbClr val="000000"/>
                </a:outerShdw>
              </a:effectLst>
              <a:latin typeface="Helvetica Neue" charset="0"/>
            </a:endParaRPr>
          </a:p>
        </p:txBody>
      </p:sp>
      <p:sp>
        <p:nvSpPr>
          <p:cNvPr id="18446" name="TextBox 32">
            <a:extLst>
              <a:ext uri="{FF2B5EF4-FFF2-40B4-BE49-F238E27FC236}">
                <a16:creationId xmlns:a16="http://schemas.microsoft.com/office/drawing/2014/main" id="{C6B733FF-1D6E-4F9F-9715-59B0A4090EAA}"/>
              </a:ext>
            </a:extLst>
          </p:cNvPr>
          <p:cNvSpPr txBox="1">
            <a:spLocks noChangeArrowheads="1"/>
          </p:cNvSpPr>
          <p:nvPr/>
        </p:nvSpPr>
        <p:spPr bwMode="auto">
          <a:xfrm>
            <a:off x="1337165" y="755040"/>
            <a:ext cx="6809642"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defRPr>
                <a:solidFill>
                  <a:schemeClr val="tx1"/>
                </a:solidFill>
                <a:latin typeface="Arial" panose="020B0604020202020204" pitchFamily="34" charset="0"/>
                <a:ea typeface="ＭＳ Ｐゴシック" panose="020B0600070205080204" pitchFamily="34" charset="-128"/>
              </a:defRPr>
            </a:lvl1pPr>
            <a:lvl2pPr marL="171450" indent="-1714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algn="just">
              <a:spcAft>
                <a:spcPts val="277"/>
              </a:spcAft>
              <a:buFont typeface="Arial" panose="020B0604020202020204" pitchFamily="34" charset="0"/>
              <a:buChar char="•"/>
            </a:pPr>
            <a:r>
              <a:rPr lang="ru-RU" altLang="en-US" sz="1200" dirty="0">
                <a:latin typeface="Bookman Old Style" panose="02050604050505020204" pitchFamily="18" charset="0"/>
              </a:rPr>
              <a:t>Вклад в ВВП – </a:t>
            </a:r>
            <a:r>
              <a:rPr lang="en-US" altLang="en-US" sz="1200" dirty="0">
                <a:latin typeface="Bookman Old Style" panose="02050604050505020204" pitchFamily="18" charset="0"/>
              </a:rPr>
              <a:t>10%</a:t>
            </a:r>
            <a:r>
              <a:rPr lang="ru-RU" altLang="en-US" sz="1200" dirty="0">
                <a:latin typeface="Bookman Old Style" panose="02050604050505020204" pitchFamily="18" charset="0"/>
              </a:rPr>
              <a:t>, в с/х ВВП – </a:t>
            </a:r>
            <a:r>
              <a:rPr lang="en-US" altLang="en-US" sz="1200" dirty="0">
                <a:latin typeface="Bookman Old Style" panose="02050604050505020204" pitchFamily="18" charset="0"/>
              </a:rPr>
              <a:t>3%</a:t>
            </a:r>
            <a:r>
              <a:rPr lang="ru-RU" altLang="en-US" sz="1200" dirty="0">
                <a:latin typeface="Bookman Old Style" panose="02050604050505020204" pitchFamily="18" charset="0"/>
              </a:rPr>
              <a:t>, </a:t>
            </a:r>
            <a:r>
              <a:rPr lang="en-US" altLang="en-US" sz="1200" dirty="0">
                <a:latin typeface="Bookman Old Style" panose="02050604050505020204" pitchFamily="18" charset="0"/>
              </a:rPr>
              <a:t>65% </a:t>
            </a:r>
            <a:r>
              <a:rPr lang="ru-RU" altLang="en-US" sz="1200" dirty="0">
                <a:latin typeface="Bookman Old Style" panose="02050604050505020204" pitchFamily="18" charset="0"/>
              </a:rPr>
              <a:t>семей занимаются тем или иным видом животноводства</a:t>
            </a:r>
            <a:endParaRPr lang="en-US" altLang="en-US" sz="1200" dirty="0">
              <a:latin typeface="Bookman Old Style" panose="02050604050505020204" pitchFamily="18" charset="0"/>
            </a:endParaRPr>
          </a:p>
          <a:p>
            <a:pPr algn="just">
              <a:spcAft>
                <a:spcPts val="277"/>
              </a:spcAft>
              <a:buFont typeface="Arial" panose="020B0604020202020204" pitchFamily="34" charset="0"/>
              <a:buChar char="•"/>
            </a:pPr>
            <a:r>
              <a:rPr lang="ru-RU" altLang="en-US" sz="1200" dirty="0">
                <a:latin typeface="Bookman Old Style" panose="02050604050505020204" pitchFamily="18" charset="0"/>
              </a:rPr>
              <a:t>Потребление мяса в развитых странах - </a:t>
            </a:r>
            <a:r>
              <a:rPr lang="en-US" altLang="en-US" sz="1200" dirty="0">
                <a:latin typeface="Bookman Old Style" panose="02050604050505020204" pitchFamily="18" charset="0"/>
              </a:rPr>
              <a:t>80 </a:t>
            </a:r>
            <a:r>
              <a:rPr lang="ru-RU" altLang="en-US" sz="1200" dirty="0">
                <a:latin typeface="Bookman Old Style" panose="02050604050505020204" pitchFamily="18" charset="0"/>
              </a:rPr>
              <a:t>кг/год, в Африке – не более</a:t>
            </a:r>
            <a:r>
              <a:rPr lang="en-US" altLang="en-US" sz="1200" dirty="0">
                <a:latin typeface="Bookman Old Style" panose="02050604050505020204" pitchFamily="18" charset="0"/>
              </a:rPr>
              <a:t> 32</a:t>
            </a:r>
            <a:r>
              <a:rPr lang="ru-RU" altLang="en-US" sz="1200" dirty="0">
                <a:latin typeface="Bookman Old Style" panose="02050604050505020204" pitchFamily="18" charset="0"/>
              </a:rPr>
              <a:t> кг</a:t>
            </a:r>
            <a:r>
              <a:rPr lang="en-US" altLang="en-US" sz="1200" dirty="0">
                <a:latin typeface="Bookman Old Style" panose="02050604050505020204" pitchFamily="18" charset="0"/>
              </a:rPr>
              <a:t>. </a:t>
            </a:r>
            <a:r>
              <a:rPr lang="ru-RU" altLang="en-US" sz="1200" dirty="0">
                <a:latin typeface="Bookman Old Style" panose="02050604050505020204" pitchFamily="18" charset="0"/>
              </a:rPr>
              <a:t>Основной источник – куриное мясо, составляет большую часть мясного импорта</a:t>
            </a:r>
            <a:r>
              <a:rPr lang="en-US" altLang="en-US" sz="1200" dirty="0">
                <a:latin typeface="Bookman Old Style" panose="02050604050505020204" pitchFamily="18" charset="0"/>
              </a:rPr>
              <a:t>. </a:t>
            </a:r>
          </a:p>
          <a:p>
            <a:pPr algn="just">
              <a:spcAft>
                <a:spcPts val="277"/>
              </a:spcAft>
              <a:buFont typeface="Arial" panose="020B0604020202020204" pitchFamily="34" charset="0"/>
              <a:buChar char="•"/>
            </a:pPr>
            <a:r>
              <a:rPr lang="ru-RU" altLang="en-US" sz="1200" dirty="0">
                <a:latin typeface="Bookman Old Style" panose="02050604050505020204" pitchFamily="18" charset="0"/>
              </a:rPr>
              <a:t>Потребление мяса в Руанде: </a:t>
            </a:r>
            <a:r>
              <a:rPr lang="en-US" altLang="en-US" sz="1200" dirty="0">
                <a:latin typeface="Bookman Old Style" panose="02050604050505020204" pitchFamily="18" charset="0"/>
              </a:rPr>
              <a:t>7.9 </a:t>
            </a:r>
            <a:r>
              <a:rPr lang="ru-RU" altLang="en-US" sz="1200" dirty="0">
                <a:latin typeface="Bookman Old Style" panose="02050604050505020204" pitchFamily="18" charset="0"/>
              </a:rPr>
              <a:t>кг</a:t>
            </a:r>
            <a:r>
              <a:rPr lang="en-US" altLang="en-US" sz="1200" dirty="0">
                <a:latin typeface="Bookman Old Style" panose="02050604050505020204" pitchFamily="18" charset="0"/>
              </a:rPr>
              <a:t>/</a:t>
            </a:r>
            <a:r>
              <a:rPr lang="ru-RU" altLang="en-US" sz="1200" dirty="0">
                <a:latin typeface="Bookman Old Style" panose="02050604050505020204" pitchFamily="18" charset="0"/>
              </a:rPr>
              <a:t>год </a:t>
            </a:r>
            <a:r>
              <a:rPr lang="en-US" altLang="en-US" sz="1200" dirty="0">
                <a:latin typeface="Bookman Old Style" panose="02050604050505020204" pitchFamily="18" charset="0"/>
              </a:rPr>
              <a:t>(2014)</a:t>
            </a:r>
            <a:r>
              <a:rPr lang="ru-RU" altLang="en-US" sz="1200" dirty="0">
                <a:latin typeface="Bookman Old Style" panose="02050604050505020204" pitchFamily="18" charset="0"/>
              </a:rPr>
              <a:t> (увеличение с </a:t>
            </a:r>
            <a:r>
              <a:rPr lang="en-US" altLang="en-US" sz="1200" dirty="0">
                <a:latin typeface="Bookman Old Style" panose="02050604050505020204" pitchFamily="18" charset="0"/>
              </a:rPr>
              <a:t>5.6 </a:t>
            </a:r>
            <a:r>
              <a:rPr lang="ru-RU" altLang="en-US" sz="1200" dirty="0">
                <a:latin typeface="Bookman Old Style" panose="02050604050505020204" pitchFamily="18" charset="0"/>
              </a:rPr>
              <a:t>кг/год в</a:t>
            </a:r>
            <a:r>
              <a:rPr lang="en-US" altLang="en-US" sz="1200" dirty="0">
                <a:latin typeface="Bookman Old Style" panose="02050604050505020204" pitchFamily="18" charset="0"/>
              </a:rPr>
              <a:t> 2006</a:t>
            </a:r>
            <a:r>
              <a:rPr lang="ru-RU" altLang="en-US" sz="1200" dirty="0">
                <a:latin typeface="Bookman Old Style" panose="02050604050505020204" pitchFamily="18" charset="0"/>
              </a:rPr>
              <a:t>г)</a:t>
            </a:r>
            <a:r>
              <a:rPr lang="en-US" altLang="en-US" sz="1200" dirty="0">
                <a:latin typeface="Bookman Old Style" panose="02050604050505020204" pitchFamily="18" charset="0"/>
              </a:rPr>
              <a:t>. </a:t>
            </a:r>
            <a:r>
              <a:rPr lang="ru-RU" altLang="en-US" sz="1200" dirty="0">
                <a:latin typeface="Bookman Old Style" panose="02050604050505020204" pitchFamily="18" charset="0"/>
              </a:rPr>
              <a:t>Потребления яиц – </a:t>
            </a:r>
            <a:r>
              <a:rPr lang="en-US" altLang="en-US" sz="1200" dirty="0">
                <a:latin typeface="Bookman Old Style" panose="02050604050505020204" pitchFamily="18" charset="0"/>
              </a:rPr>
              <a:t>0</a:t>
            </a:r>
            <a:r>
              <a:rPr lang="ru-RU" altLang="en-US" sz="1200" dirty="0">
                <a:latin typeface="Bookman Old Style" panose="02050604050505020204" pitchFamily="18" charset="0"/>
              </a:rPr>
              <a:t>,</a:t>
            </a:r>
            <a:r>
              <a:rPr lang="en-US" altLang="en-US" sz="1200" dirty="0">
                <a:latin typeface="Bookman Old Style" panose="02050604050505020204" pitchFamily="18" charset="0"/>
              </a:rPr>
              <a:t>63 </a:t>
            </a:r>
            <a:r>
              <a:rPr lang="ru-RU" altLang="en-US" sz="1200" dirty="0">
                <a:latin typeface="Bookman Old Style" panose="02050604050505020204" pitchFamily="18" charset="0"/>
              </a:rPr>
              <a:t>кг/год в 2</a:t>
            </a:r>
            <a:r>
              <a:rPr lang="en-US" altLang="en-US" sz="1200" dirty="0">
                <a:latin typeface="Bookman Old Style" panose="02050604050505020204" pitchFamily="18" charset="0"/>
              </a:rPr>
              <a:t>014 </a:t>
            </a:r>
            <a:r>
              <a:rPr lang="ru-RU" altLang="en-US" sz="1200" dirty="0">
                <a:latin typeface="Bookman Old Style" panose="02050604050505020204" pitchFamily="18" charset="0"/>
              </a:rPr>
              <a:t>(с </a:t>
            </a:r>
            <a:r>
              <a:rPr lang="en-US" altLang="en-US" sz="1200" dirty="0">
                <a:latin typeface="Bookman Old Style" panose="02050604050505020204" pitchFamily="18" charset="0"/>
              </a:rPr>
              <a:t>0</a:t>
            </a:r>
            <a:r>
              <a:rPr lang="ru-RU" altLang="en-US" sz="1200" dirty="0">
                <a:latin typeface="Bookman Old Style" panose="02050604050505020204" pitchFamily="18" charset="0"/>
              </a:rPr>
              <a:t>,</a:t>
            </a:r>
            <a:r>
              <a:rPr lang="en-US" altLang="en-US" sz="1200" dirty="0">
                <a:latin typeface="Bookman Old Style" panose="02050604050505020204" pitchFamily="18" charset="0"/>
              </a:rPr>
              <a:t>2</a:t>
            </a:r>
            <a:r>
              <a:rPr lang="ru-RU" altLang="en-US" sz="1200" dirty="0">
                <a:latin typeface="Bookman Old Style" panose="02050604050505020204" pitchFamily="18" charset="0"/>
              </a:rPr>
              <a:t> кг в</a:t>
            </a:r>
            <a:r>
              <a:rPr lang="en-US" altLang="en-US" sz="1200" dirty="0">
                <a:latin typeface="Bookman Old Style" panose="02050604050505020204" pitchFamily="18" charset="0"/>
              </a:rPr>
              <a:t> 2006</a:t>
            </a:r>
            <a:r>
              <a:rPr lang="ru-RU" altLang="en-US" sz="1200" dirty="0">
                <a:latin typeface="Bookman Old Style" panose="02050604050505020204" pitchFamily="18" charset="0"/>
              </a:rPr>
              <a:t>)</a:t>
            </a:r>
            <a:r>
              <a:rPr lang="en-US" altLang="en-US" sz="1200" dirty="0">
                <a:latin typeface="Bookman Old Style" panose="02050604050505020204" pitchFamily="18" charset="0"/>
              </a:rPr>
              <a:t>. </a:t>
            </a:r>
          </a:p>
        </p:txBody>
      </p:sp>
      <p:sp>
        <p:nvSpPr>
          <p:cNvPr id="18447" name="TextBox 33">
            <a:extLst>
              <a:ext uri="{FF2B5EF4-FFF2-40B4-BE49-F238E27FC236}">
                <a16:creationId xmlns:a16="http://schemas.microsoft.com/office/drawing/2014/main" id="{CC7EA8A4-D0F8-44F1-9D9A-1816163C4645}"/>
              </a:ext>
            </a:extLst>
          </p:cNvPr>
          <p:cNvSpPr txBox="1">
            <a:spLocks noChangeArrowheads="1"/>
          </p:cNvSpPr>
          <p:nvPr/>
        </p:nvSpPr>
        <p:spPr bwMode="auto">
          <a:xfrm>
            <a:off x="1337166" y="2295892"/>
            <a:ext cx="5254137"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just">
              <a:spcAft>
                <a:spcPts val="277"/>
              </a:spcAft>
              <a:buFont typeface="Wingdings" panose="05000000000000000000" pitchFamily="2" charset="2"/>
              <a:buChar char="§"/>
            </a:pPr>
            <a:r>
              <a:rPr lang="ru-RU" altLang="ru-RU" sz="1200" dirty="0">
                <a:latin typeface="Bookman Old Style" panose="02050604050505020204" pitchFamily="18" charset="0"/>
              </a:rPr>
              <a:t>Рост поголовья птицы до </a:t>
            </a:r>
            <a:r>
              <a:rPr lang="en-US" altLang="ru-RU" sz="1200" dirty="0">
                <a:latin typeface="Bookman Old Style" panose="02050604050505020204" pitchFamily="18" charset="0"/>
              </a:rPr>
              <a:t>4, 916,837 </a:t>
            </a:r>
            <a:r>
              <a:rPr lang="ru-RU" altLang="ru-RU" sz="1200" dirty="0">
                <a:latin typeface="Bookman Old Style" panose="02050604050505020204" pitchFamily="18" charset="0"/>
              </a:rPr>
              <a:t>в </a:t>
            </a:r>
            <a:r>
              <a:rPr lang="en-US" altLang="ru-RU" sz="1200" dirty="0">
                <a:latin typeface="Bookman Old Style" panose="02050604050505020204" pitchFamily="18" charset="0"/>
              </a:rPr>
              <a:t>2014</a:t>
            </a:r>
            <a:r>
              <a:rPr lang="ru-RU" altLang="ru-RU" sz="1200" dirty="0">
                <a:latin typeface="Bookman Old Style" panose="02050604050505020204" pitchFamily="18" charset="0"/>
              </a:rPr>
              <a:t>г и продукции с </a:t>
            </a:r>
            <a:r>
              <a:rPr lang="en-US" altLang="ru-RU" sz="1200" dirty="0">
                <a:latin typeface="Bookman Old Style" panose="02050604050505020204" pitchFamily="18" charset="0"/>
              </a:rPr>
              <a:t>7,379MT </a:t>
            </a:r>
            <a:r>
              <a:rPr lang="ru-RU" altLang="ru-RU" sz="1200" dirty="0">
                <a:latin typeface="Bookman Old Style" panose="02050604050505020204" pitchFamily="18" charset="0"/>
              </a:rPr>
              <a:t>в </a:t>
            </a:r>
            <a:r>
              <a:rPr lang="en-US" altLang="ru-RU" sz="1200" dirty="0">
                <a:latin typeface="Bookman Old Style" panose="02050604050505020204" pitchFamily="18" charset="0"/>
              </a:rPr>
              <a:t>2005</a:t>
            </a:r>
            <a:r>
              <a:rPr lang="ru-RU" altLang="ru-RU" sz="1200" dirty="0">
                <a:latin typeface="Bookman Old Style" panose="02050604050505020204" pitchFamily="18" charset="0"/>
              </a:rPr>
              <a:t>г</a:t>
            </a:r>
            <a:r>
              <a:rPr lang="en-US" altLang="ru-RU" sz="1200" dirty="0">
                <a:latin typeface="Bookman Old Style" panose="02050604050505020204" pitchFamily="18" charset="0"/>
              </a:rPr>
              <a:t> to 16,304MT </a:t>
            </a:r>
            <a:r>
              <a:rPr lang="ru-RU" altLang="ru-RU" sz="1200" dirty="0">
                <a:latin typeface="Bookman Old Style" panose="02050604050505020204" pitchFamily="18" charset="0"/>
              </a:rPr>
              <a:t>в</a:t>
            </a:r>
            <a:r>
              <a:rPr lang="en-US" altLang="ru-RU" sz="1200" dirty="0">
                <a:latin typeface="Bookman Old Style" panose="02050604050505020204" pitchFamily="18" charset="0"/>
              </a:rPr>
              <a:t> 2014. </a:t>
            </a:r>
          </a:p>
          <a:p>
            <a:pPr algn="just">
              <a:spcAft>
                <a:spcPts val="277"/>
              </a:spcAft>
              <a:buFont typeface="Wingdings" panose="05000000000000000000" pitchFamily="2" charset="2"/>
              <a:buChar char="§"/>
            </a:pPr>
            <a:r>
              <a:rPr lang="ru-RU" altLang="en-US" sz="1200" dirty="0">
                <a:latin typeface="Bookman Old Style" panose="02050604050505020204" pitchFamily="18" charset="0"/>
              </a:rPr>
              <a:t>Новая земельная политика, направленная на сохранность фермерских земель.</a:t>
            </a:r>
            <a:endParaRPr lang="en-US" altLang="en-US" sz="1200" dirty="0">
              <a:latin typeface="Bookman Old Style" panose="02050604050505020204" pitchFamily="18" charset="0"/>
            </a:endParaRPr>
          </a:p>
          <a:p>
            <a:pPr algn="just">
              <a:spcAft>
                <a:spcPts val="277"/>
              </a:spcAft>
              <a:buFont typeface="Wingdings" panose="05000000000000000000" pitchFamily="2" charset="2"/>
              <a:buChar char="§"/>
            </a:pPr>
            <a:r>
              <a:rPr lang="ru-RU" altLang="en-US" sz="1200" dirty="0">
                <a:latin typeface="Bookman Old Style" panose="02050604050505020204" pitchFamily="18" charset="0"/>
              </a:rPr>
              <a:t>Фокус на </a:t>
            </a:r>
            <a:r>
              <a:rPr lang="ru-RU" altLang="en-US" sz="1200" dirty="0" err="1">
                <a:latin typeface="Bookman Old Style" panose="02050604050505020204" pitchFamily="18" charset="0"/>
              </a:rPr>
              <a:t>равитии</a:t>
            </a:r>
            <a:r>
              <a:rPr lang="ru-RU" altLang="en-US" sz="1200" dirty="0">
                <a:latin typeface="Bookman Old Style" panose="02050604050505020204" pitchFamily="18" charset="0"/>
              </a:rPr>
              <a:t> птицеводства: в </a:t>
            </a:r>
            <a:r>
              <a:rPr lang="en-US" altLang="en-US" sz="1200" dirty="0">
                <a:latin typeface="Bookman Old Style" panose="02050604050505020204" pitchFamily="18" charset="0"/>
              </a:rPr>
              <a:t>2017</a:t>
            </a:r>
            <a:r>
              <a:rPr lang="ru-RU" altLang="en-US" sz="1200" dirty="0">
                <a:latin typeface="Bookman Old Style" panose="02050604050505020204" pitchFamily="18" charset="0"/>
              </a:rPr>
              <a:t>г отрасль получила статус стратегически важной. </a:t>
            </a:r>
            <a:r>
              <a:rPr lang="en-US" altLang="en-US" sz="1200" dirty="0">
                <a:latin typeface="Bookman Old Style" panose="02050604050505020204" pitchFamily="18" charset="0"/>
              </a:rPr>
              <a:t> </a:t>
            </a:r>
          </a:p>
        </p:txBody>
      </p:sp>
      <p:sp>
        <p:nvSpPr>
          <p:cNvPr id="41" name="TextBox 40">
            <a:extLst>
              <a:ext uri="{FF2B5EF4-FFF2-40B4-BE49-F238E27FC236}">
                <a16:creationId xmlns:a16="http://schemas.microsoft.com/office/drawing/2014/main" id="{ACD1D6C0-BD13-48D4-92B7-A9D5E4DFBE85}"/>
              </a:ext>
            </a:extLst>
          </p:cNvPr>
          <p:cNvSpPr txBox="1"/>
          <p:nvPr>
            <p:custDataLst>
              <p:tags r:id="rId12"/>
            </p:custDataLst>
          </p:nvPr>
        </p:nvSpPr>
        <p:spPr>
          <a:xfrm>
            <a:off x="818418" y="108440"/>
            <a:ext cx="7448549" cy="561244"/>
          </a:xfrm>
          <a:prstGeom prst="rect">
            <a:avLst/>
          </a:prstGeom>
          <a:solidFill>
            <a:schemeClr val="accent3"/>
          </a:solidFill>
          <a:ln>
            <a:solidFill>
              <a:schemeClr val="accent1">
                <a:shade val="50000"/>
              </a:schemeClr>
            </a:solidFill>
          </a:ln>
        </p:spPr>
        <p:txBody>
          <a:bodyPr wrap="square">
            <a:spAutoFit/>
          </a:bodyPr>
          <a:lstStyle/>
          <a:p>
            <a:pPr algn="ctr" eaLnBrk="1" hangingPunct="1">
              <a:defRPr/>
            </a:pPr>
            <a:r>
              <a:rPr lang="ru-RU" sz="1385" b="1" dirty="0">
                <a:solidFill>
                  <a:srgbClr val="007E01"/>
                </a:solidFill>
                <a:latin typeface="+mj-lt"/>
                <a:ea typeface="ＭＳ Ｐゴシック" charset="0"/>
                <a:cs typeface="Palatino"/>
              </a:rPr>
              <a:t>РУАНДА</a:t>
            </a:r>
            <a:endParaRPr lang="en-GB" sz="1385" b="1" dirty="0">
              <a:solidFill>
                <a:srgbClr val="007E01"/>
              </a:solidFill>
              <a:latin typeface="+mj-lt"/>
              <a:ea typeface="ＭＳ Ｐゴシック" charset="0"/>
              <a:cs typeface="Palatino"/>
            </a:endParaRPr>
          </a:p>
          <a:p>
            <a:pPr algn="ctr" eaLnBrk="1" hangingPunct="1">
              <a:defRPr/>
            </a:pPr>
            <a:endParaRPr lang="en-GB" sz="554" b="1" i="1" dirty="0">
              <a:latin typeface="Palatino"/>
              <a:ea typeface="ＭＳ Ｐゴシック" charset="0"/>
              <a:cs typeface="Palatino"/>
            </a:endParaRPr>
          </a:p>
          <a:p>
            <a:pPr algn="ctr" eaLnBrk="1" hangingPunct="1">
              <a:defRPr/>
            </a:pPr>
            <a:r>
              <a:rPr lang="ru-RU" sz="1108" b="1" cap="all" dirty="0">
                <a:solidFill>
                  <a:srgbClr val="000000"/>
                </a:solidFill>
                <a:ea typeface="MS Gothic" charset="0"/>
                <a:cs typeface="Palatino"/>
              </a:rPr>
              <a:t>Возможности инвестирования</a:t>
            </a:r>
            <a:r>
              <a:rPr lang="en-US" sz="1108" b="1" dirty="0">
                <a:latin typeface="+mj-lt"/>
                <a:ea typeface="MS PGothic" pitchFamily="34" charset="-128"/>
              </a:rPr>
              <a:t>: </a:t>
            </a:r>
            <a:r>
              <a:rPr lang="ru-RU" sz="1108" b="1" dirty="0">
                <a:latin typeface="+mj-lt"/>
                <a:ea typeface="MS PGothic" pitchFamily="34" charset="-128"/>
              </a:rPr>
              <a:t>ПРОДУКТЫ ПТИЦЕВОДСТВА ДЛЯ ВНУТРЕННЕГО И РЕГИОНАЛЬНОГО РЫНКОВ</a:t>
            </a:r>
            <a:endParaRPr lang="en-GB" sz="1108" b="1" i="1" cap="all" dirty="0">
              <a:latin typeface="+mj-lt"/>
              <a:ea typeface="ＭＳ Ｐゴシック" charset="0"/>
              <a:cs typeface="Palatino"/>
            </a:endParaRPr>
          </a:p>
        </p:txBody>
      </p:sp>
      <p:sp>
        <p:nvSpPr>
          <p:cNvPr id="18449" name="Text Placeholder 2">
            <a:extLst>
              <a:ext uri="{FF2B5EF4-FFF2-40B4-BE49-F238E27FC236}">
                <a16:creationId xmlns:a16="http://schemas.microsoft.com/office/drawing/2014/main" id="{ADF71370-983F-4BA4-B3CE-245EB579543E}"/>
              </a:ext>
            </a:extLst>
          </p:cNvPr>
          <p:cNvSpPr txBox="1">
            <a:spLocks/>
          </p:cNvSpPr>
          <p:nvPr>
            <p:custDataLst>
              <p:tags r:id="rId13"/>
            </p:custDataLst>
          </p:nvPr>
        </p:nvSpPr>
        <p:spPr bwMode="auto">
          <a:xfrm rot="16200000">
            <a:off x="182074" y="2945789"/>
            <a:ext cx="1400175" cy="388325"/>
          </a:xfrm>
          <a:prstGeom prst="rect">
            <a:avLst/>
          </a:prstGeom>
          <a:solidFill>
            <a:srgbClr val="FFFF66"/>
          </a:solidFill>
          <a:ln w="9525">
            <a:solidFill>
              <a:srgbClr val="FFFF66"/>
            </a:solidFill>
            <a:miter lim="800000"/>
            <a:headEnd/>
            <a:tailEnd/>
          </a:ln>
        </p:spPr>
        <p:txBody>
          <a:bodyPr lIns="25322" tIns="12661" rIns="25322" bIns="12661" anchor="ctr"/>
          <a:lstStyle>
            <a:lvl1pPr marL="342900" indent="-34290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120000"/>
              </a:lnSpc>
              <a:buFont typeface="Arial" panose="020B0604020202020204" pitchFamily="34" charset="0"/>
              <a:buNone/>
            </a:pPr>
            <a:r>
              <a:rPr lang="ru-RU" altLang="en-US" sz="831" b="1" dirty="0">
                <a:latin typeface="Helvetica Neue" charset="0"/>
              </a:rPr>
              <a:t>ПРЕИМУЩЦЕСТВА</a:t>
            </a:r>
            <a:endParaRPr lang="en-GB" altLang="en-US" sz="831" b="1" dirty="0">
              <a:latin typeface="Helvetica Neue" charset="0"/>
            </a:endParaRPr>
          </a:p>
        </p:txBody>
      </p:sp>
      <p:pic>
        <p:nvPicPr>
          <p:cNvPr id="18458" name="Picture 9" descr="RWAN0001.GIF">
            <a:extLst>
              <a:ext uri="{FF2B5EF4-FFF2-40B4-BE49-F238E27FC236}">
                <a16:creationId xmlns:a16="http://schemas.microsoft.com/office/drawing/2014/main" id="{D9BDCB92-7047-4A25-B5C0-354B3C00D86E}"/>
              </a:ext>
            </a:extLst>
          </p:cNvPr>
          <p:cNvPicPr>
            <a:picLocks noChangeAspect="1"/>
          </p:cNvPicPr>
          <p:nvPr>
            <p:custDataLst>
              <p:tags r:id="rId14"/>
            </p:custDataLst>
          </p:nvPr>
        </p:nvPicPr>
        <p:blipFill>
          <a:blip r:embed="rId19">
            <a:extLst>
              <a:ext uri="{28A0092B-C50C-407E-A947-70E740481C1C}">
                <a14:useLocalDpi xmlns:a14="http://schemas.microsoft.com/office/drawing/2010/main" val="0"/>
              </a:ext>
            </a:extLst>
          </a:blip>
          <a:srcRect/>
          <a:stretch>
            <a:fillRect/>
          </a:stretch>
        </p:blipFill>
        <p:spPr bwMode="auto">
          <a:xfrm>
            <a:off x="147272" y="6282032"/>
            <a:ext cx="422688" cy="350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51" name="Picture 9" descr="http://tonyblairoffice.org/page/-/images/agi/rdb%20logo.jpg">
            <a:extLst>
              <a:ext uri="{FF2B5EF4-FFF2-40B4-BE49-F238E27FC236}">
                <a16:creationId xmlns:a16="http://schemas.microsoft.com/office/drawing/2014/main" id="{A81CE521-D9DD-4906-A7B3-5996F6691A96}"/>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146807" y="6383945"/>
            <a:ext cx="794241" cy="27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52" name="AutoShape 4" descr="data:image/jpeg;base64,/9j/4AAQSkZJRgABAQAAAQABAAD/2wCEAAkGBxQTEhUUExQVFhUXGBgYGBYWGBgaHhgXGBcXHBgYGBgcHCggGBolHBcYIjEhJSkrLi4uFx8zODMsNygtLiwBCgoKDg0OGxAQGiwkHyQsLCwsLCwsLCwsLCwsLCwsLCwsLCwsLCwsLCwsLCwsLCwsLCwsLCwsLCwsLCwsLCwsLP/AABEIAKYBLwMBIgACEQEDEQH/xAAbAAACAwEBAQAAAAAAAAAAAAAEBQIDBgEAB//EAEUQAAECAwQFCAcGBQMFAQAAAAECEQADIQQSMUEFIlFhcQYTMoGRobHwQmJyksHR0hQWI1Ky4TOCwtPxBySiFVNjs+I0/8QAGQEAAwEBAQAAAAAAAAAAAAAAAAECAwQF/8QAJxEAAgIBBQACAgEFAAAAAAAAAAECEQMEEiExQRNRFCKBMmGxwfD/2gAMAwEAAhEDEQA/ANbNAvKoOkoknElz3RWskYHqgiaNZXtHxMDlFYkqylaXxA4buuMZyn5PBCStIPNHEZyicCn1fDhG7CPLRIygQQRQhiDrJIOIIOUAj4VNQqWq6rqP5ht/aLER9H5Sci0rlk2eik6wlu9cwk41wY7tlfn2j7MqZMTKSNclmNGObvg2cT2XFhliqLoN1Tghg+G7YxPZDNSiVKJLklydu+HmiuSCEVXNvKat1CcScUqNYq5S6HTZwgoUo3wp7zUIagbjCqhylYokqrvyjb6L0smVKElM5SQAXDS2vHpYrBzMY/QtmKjeySxLtV8g5DlhlWmEMBYjeOs15VHQzkk0BKmMTL6EjSybcCVgzk3SokJNy7VSqhHOMKNhEpEx0Xb6CHOqU06ZxaWuEKLCpVHFGFAS5Oy6Ccu+JI0aspcYOrJQwJGNz4xIUixTB0viqYTuJIpUD8po0UE6+9x8M4nZ5BCyfXaj4uS+GEcnKaZKAFVLrT0QE4niR2mKAzmh58s2iXQl1YqZgS7MkDxMOtMVnED/ALaHrtM1mpjjnGW0aP8AcAhtWa54CZlH0eXoaXNWpalLBYJYMzJvkYj1zFtEozk6X/sUjo6w6ZFNdeLOM8oBtZaYX3NTAMKb+MP9J6GSiQmzy1EC+litiekS1GxeI2fQqFr5yZrAuEpDgEAnWURlsEIBJZ0JmTxeTf1MKmowoMaGBNO2fm5q0VZwoDC7eAN1mxDx9AsqKXUgJTWiQ2T4DqjPcstGFxOxBAStsiAyVcCKcQNsA0I9AEmchrpN4XQrokuLoVuKmEa202xKbPMlqvJmGUU3WSHVfVRWBZi2fWGhDyT0WVzQtzclFKz6xBdKN1Q/Ab43s8Xpa0rAIKEuDUEX6gvu8BCfI3aMPY0lgdr+Ih4lIYAeelE7Zokc3zspN0Ie8irXXGsgnZmneSM4pkr89sTIaL0p+NODQPak4cB+tcEKy87IFnrFHUBQYlvSVERAusAiXKNRShE4JB5s1o5AUzHg9OuAft1wi6ApsSCWNMI6vTcwkMlrpej45eeEUk07E2g2yWtE3Wlm+Sl2DnVDkukYNnC6z6Rlrmc4FklSEgi8HS5cC6KJLJL9UJdIaSu2qXMqg6qV80AFFClV4qIJ7oa2vS8rWRLSQ6VupKUnXvPLSygCoAODUVO9oe0Qv0hPck5PTGp3QB9nUqrb41C7UlSlypkxSlIupVLF24laiwqzuAajI4NAdos6RQYf5ikwEwk74nzB+T1r4dtIMXKFaZxBaA8MAG558+GJOMe5vj5/qOZygth58+dsdMsdnV1P6PshwdsKwBbpxbqFBTAB/RG2D9Cj8aXQVKiaipuKwAIoHiopG4U3g/8Ax7OcH6GlDnkUd3wcPqKqn8o3QWBt5qmCj6yvExxXRBiFuUwI9ZXiYsk1SRsjaiSpOEWJVFUouTwiSJgArBQi0HZCvSWigZiZ8sVCgZia4YXhvbEdcNFJzBpFkpbRLQxTJxPnZC/luh5Es7FkZekn/wCYd2uz3VAp6Ku45j4iF/KhD2Qn8qkHEZ0+MTIaMpYbRcuoC5gKmdKTqkq2geoWc7xDOz2mSNcqtF/8JIIEu8UiqkAs1FF0A0FXhNLWnnkXRTVqXJw4tgwwizRloZaKXmVfTiLpUpAIBLk6qTQ/mo0TRQ+0JpJTzVWhc5LlLKSEklnBCnYUpkGrCXlXbiLOTLUrpUU9SjnFKLgUwg7SdquzpywVIN+Y7FQN4kOKNdqTCjlMnm5QE4LAE1ImBtZlKU4IO1xEY3uHNJdFHJ/SS5k1KVHVcKupKwlwpNbpVvMPJdnARereBlMXUWvTUhWJaogXRBlruLQgAKS6VXEPdfE0xoOyNBOlBKUarggUCEVZSmvNiQodwjYzMdKsqlqmzApL86UhAu3mCnOqz3GIruMfQtG4nr8IzmlbPKUhRlyFoWCS6AA7AFZWE1UGesaKwHh5ECYA2krMJhunAl8AcjkYnYrMi5dMwgAMBdSaYMCA8TtH8QcfnAUy0XGLpDqA1iBnhWIkA2uJuhlV9JJDbXILsRFc+6UlK2aoqH6iGrAcq0BSQpKgobQXFN8U6VVqJ9oV6jAOwiwTZMpLIuIvEkgAs5HyaCxpCXVzsyVllhCackqN8gOoAkCjmgcDeSk7yqkWSmS15OrmVOA2ZfGnXwMMdmfnyrQuaZiUnEqAvJZIdgA5bBhV40TFICBdKQSQWD1Gaseo4ERTZpovFsGPWL3AQWVpMJxsLsprSneNvGAFWdOJTVy+GNCR3jthiqaBgPNIXTC972lfpRCSoHyeZsqed8QsJoaYqJPWQ2exolNOqeEes3SbePFvhDYjH6QWpdrXTW5xTBO1L3QOwQTYtIrSFKEzo3VoQZaVBRBDpKqKTUY1G6F9sSeeWoFjziy/8xj1nQQ4O/vqPGKY/CEm3KC1HAqUSWzJxJ9Y5mD5WkTthNPRnHOcpAOjRC1b38+ewxxdo+Xl/NISS7Rk8XptB/auB894hiGnPd54ddc8duBBiXOjbTImlD4JqxADgwsTN63fbUNUYPUVxxCjFonb3NX2q2vidZJfKsFAMBM450zcbsLwyJxEMNDTvxkPVySWz1FMp2qYR87Vn7duKVEYmlOyGWg5zz5e11EDZqKCkgVavhCoRv8ASitY8T4mJWaeyFHgIjb6udilD/kYGTM1bu9+5o2S4ICnZXb34RUsxM4DgIqSoYny0OhhSSdtIulTXLd8ClTiJ2Y1EKgDV1F04KHYcoWaYlvZpydgGzJQ2wbNmU649aklSJgHpIUesD9h2xlNcDs+cTJKJNwrWSvIOkDc71wNYhY7PMuhYBACmCizAkpSj/kk9hgbSkorVNmXQoJmJQpWy8HQNwx7IvRayoiWlF4IGquoD3lLqk7AtY78oTGjtvlmZNUZT82FVcgP0dY1xIBJZ3Ji/wD1CPOpJSXCp0sAh2LsMDvgmzTkhJWhIBvMsC61AcBjg+ELNMLWtipglRksEhgDzoB1cj8oXoPov0Va1SUSkc0taUJu3wRUVrdy4QdaOVtUJ5hbjV6afzE1BHrd0K584S032JKgABuIcDs8YnL5qY3PBiapWK3dgUDinb8IpuiSHKC1c6Ura7dSQGU5d3xYNG90aqnndHz+0JAWqUoJDPdKW1huGVDG+0WadngIOPBkLfNCVAkgAHEts8YwHKW0CYtRvOAEhLFwCcW4vXhGw5WPzdMbya7K1MYjTk3BIusQCWBFSQTR6RPo/BhoXSXMhaVAlClKIusbqmIIUHcUD9UNLVppBSlN1bpAvKDF6ZB3aM7ZFa0zPXHV069UWTFNHZgwRyRbZhkyOLSRqrQPwkuSdUqetUuijPvT7sAzbW4aoS7+0R8P3i+2WhBs6TfAvSygEH0lc2ABv3bjGVkKUicU84biVsy1kkpZ8M45UjZmpscw4ku6QrtJpvwgnnYukaTkE6iSasGltwx4xHSkyoejCgYb3q/CBoaZQqcXpltfdm1GdPvboHmTWCv5ie6BrVpCVLNxRmFwXu1Avmo24/CJiYFEHEEqOGTmObDOUm2+vDXLilFJtHJFvTMAuqSTRwC+e0UOEFWeZ+IkbS3XUjwMUBIDAAAVLb/JjoSHdsLzHY6ThG5kZ6eAkKWoOASS3HzWLLPZTNAYKQateDEv0Q2Ry7IJly2Ay3xdpFa538NSULW98lywAa8GAAUrFtgeFZozLzgajOtN4xEAE1hmuxKkG4qqgxfJQ2jcYAnByTg5LDr8iKJR5JpE0TPP79kUpMdQK7O7PPshjoI53PzTW2cRF8uY2GXH0TubJUCIQbt5qChNGdj+0cAwxrTDaneICRgKU4jsLjDd5pDXQCv9xL4kjLGUt/L5b4RyZpzByOBzDYMIc8l5ZVPln0QS5Of4a4TY6vo+llTqWPWV+owOUMYmtbLUfWV+oxy2LAyoc43Mi9IcDh8YEm9LdlF1mW6OBI6iXHjA9oVrpG49zQeh4EXmEX2ZLNA6Q5glBg8A9MMFWcPT4PiGPwgMQTZlVEQ1aGfMJs/mp08qSFDnJbgjBkqDjg7dcQGkpZmH8CWu96Sizvg5fKH3KjRSElag14qUp2YvziRtORaLOTFkl82SEVvEPqijAgY7zlnGMpVGzXHHdKmxZJtF5ExIShLBLc2aFKr4FMmrFOlUgSUs1FyGbAPNSfnDfTEsJmmjXpQLOC91Z2GmMZ/Ti3saiHoUYhujNCcBhBF2rDIkm0jltRTm8aAoJOGwjMnJs2BipdpSlk1owZ3dn1js6WELbXaCtMkO7ZcG2dcSkpJUM6h8KBxXui6MhispSFEJ1mNTVnHdH0HQynQDuT+kRj5Viv4pBGDEs+7/ADDuw6VEsAMSKMzYBxt2ACAYRyotBRLUoAlQwSATeJYXaZF6nZHzOc4DEEBnqkj0QTU4gEtG90ja1rllSVBKgaHN8TgK0bvgFdiROQEzQ90O4K0qJAYuHIrXKFYzPWSZrTDsU439LPri+1zQlIL0vAcQ7kNweK5sgSp0xAL0SXPrV7njR6DssqZJdTghRSWDuwcEu9WVGq1HxQd9MyljUmC2hAm2CVUgFT0NQ0wkQoTo0JLhaicXNXptjT6Ss7SShALJWWG68g/GFCbDNV0UE9nzjJT3fsaVRfZNQgA0uy1VY1U5PVSDrTalLZzhsDbMeyF0pTkH/wAcv+oQRfiW2ykgC16OWpZUhV0Kz2beO2DrKkJAD4Xg5z1jXzti1BcgDa3bBiNDzkllJAOy8k9I0wMTCKia5M0ppJ+Ap2+cf2joPS4H9MXWuxqlllpuk1FQXGDuHzgYka3CLRiLrOBdBIc5k8TB9mVk7dSuou1P8wFIqhPnMwVZ5QiWapcF+l7IJyUgnW1rpzCqUriHxAhdyhsBssiZZ13DMlgpwdlLLhSXDgMpwYZCwy1FJKahT0JDvi4B2R3TOl7LaZ8yWoJJCUqpeupSEpJZVSpTkZUYh8YcWTJNHzqTt7jXdFpTwglFmvAVY9TGHFl5LTFA/iSwwcu7dqXhsaaM6pbBsQHYZVp8XiAcmlf8NGlHJdXNqmKXLATlrm9womFqJRUoIcJDtdQlgRxqe0wCbR6wSbxAWo3VNQVe6KOchvjRWScJc2Td6JKgwphLXnAsmyJExSZaSzAAE3i7hwrYfgY0GhdHvaU3Uk3QTq3KEpIdlkD4xD/qNFJKLH8/pK9pX6jHp9Ujs7IitWsr2lfqMTllwR1x1s5QOyTiCUvnht2Hzsi6cBzqPZUO9Jge22dloWMHDwTLH4g3JPaSPlB3yAYkRKIAxJ4GCOxdLMURagwkMQcsUtXJSSesFD94jKWOZOf8JiwdUski+ARUKyVVo1/LmWTZb4xlqB/lXqq77p7YQaGsgMtUwrwPRSoitbrh2JcChpWMaqyk+SpVoQqYlwqWq6pKkLBD1SXvGhDg55xO36JmTJC0JMslSizTEkVmXgHG6NDLW6QXKKYEJSf0+XirmFEBaLoD1vLrlU0YQgbtmNsPJMpIE2ZcUD6CQoEavpEj9qw1naCQnXlKUooBJv8ANhJYZFw+1sTDq3WWatjz0q8KJlkkltgLU7IWJss2YCXSz4CmOyHbJK9H25SZabwulqrAoWxIoMDllFsjRy5iXRMlNVjn1lyINOhVXalNwPQkJpUs/HZsO2ArPZSXD0NWYKxxugj4wDLTo8pAAXLH4gXrKOSACDvJETRZ9YEzUgMsFICiSVuxfJnPGJyNUJQmSU+iHIAoOBjlp0gJZAUUgkUosk9gwgoLBzLlywog84steJlpCmHrEPRsIlYrWtYLo1SQUMqWGSwzDXnxemMLJ2kLOqYyudUpZolICQSaMmrwfLASsBCSEBJF0n0ioaxUcgARWJnCMlUkF0OdHJSpRC0ApdbpUxr+G2FHxglWj5QULqUyzj0ArxEZqwaSQZplJWCpTqTdU9wJCQwLM1D70aiULtwDAAdob948vVZ54JpRfH0aRSl2Ar0LKTVUw5ZMSz5ua1OWcAJ0agrbnQkE7KJGQJUoOeqHFhtCjNCVJSWCnNDeqLtMqQfOVLB/hB9yR8ov8tNfvLa/7K/9MFGhDatEy5aazCskO6WATi2BLmmcN/td6WFpJ1w5JYknPE1ga02lCucSWdIAYPSmzbWIyJjoSmWdlKgsMjQ5RlqPklTi3/yGqFtttBTPvA6ySggjaAI3IRKWLxmKBO0KV3u8Zu0aFvKKjec7xTcHBgqXbbtFEgkKUSKDVqQK45tHTLO8MYblfHP34RV3QPykscsyStM2zKOIUlCxMJeqXBILmmsMozMmH9qs5tDXTqte1iRizZGBVaCUMD4H4p8I6MeT5I7ki4yrsp0cm9MQn8ykp7SB8Y2Vt/0xs7EyVzEKAN0XnD5B2cB4ydksy5M2WtYF1K0qJqAwUDiQwwj65YdIy5weWtKtyVJV4GNoL7FKX0z5ZpTkAuSgNMBcAqTdDBTa3fm0ZW1aAnoOqtadwUbrbgSQM+2PtumLQk0qeDeEZO3JTUlgPWYN1wsiro3xVJfsjFBTJuFEwJzF9++nkwD9mlJVfAmgh2BBUMMwx8Y106zJNQ3UYEmWXdHO8rR0fiwfTEBmSgApE67MOJXLoQSHDhTgB89mUNNDicibLItdnBU7oKFIUWSpxeKiCx7Wia7Gk4pETsWj087L1CQCcMtRW8N5GQhxyW6JyabarGk066vaV+oxbKXV4rtaddXtK/UY5LVHoHmEraWQrcC3YWiFiU7KzIHhE55cRToxiptzj4w0DGSY88Tu0ioQgJPEwYqiZhDI6VlX7POQz3pSw38pPiI+ZaC0qlLqUQkMAxcu7ZAHZ3x9Uk1IG2h4Ghj4wqUZZKCGKdVhsHwjN9gbqRbkqAYpUKsQT5pwgsWkXWKW6g+58IzVneVZUTZhl82pwlyLzgkFISTrCj0wcwTZbNzbTVzZZExKVgyyVIALhn/M7vShEYSk1ba6KQ2VaWUFJIJGagk4edkXItJUC4SVHFV4h+IqOzZGZt9r1mQss4qhSgwzwAYdcRstsWFVmraoZS6P/MW74uMrjuaE+zQ82ZgCiUhnooMaHOkVyULQoqCklwzXSzdZx3wBpSYu4SlawwfVWrPgcIBE0GzSFLWp1Ga5K1Oq7MUA9cqCCE1NXQNUaKx2pSpgCiOoNGe5TEKnhBIBLJD7VKb4iC9AFHOOhthIL5ihhTyomkWkKHoknsKSI1oQz0PZESLS6xgFBJuksDgwApRx1mA7Zo6bPmKM3oE0BYBsqHGkPLNaEzA4w7w+Ri77ClVHHAjweJAB0bYpUog3gCPyCvblD6VbwSAEqO93OB6s4Dl6MQMUq6oIFsQigBfrHjHPlxKfY06DuaBINRrJNW27j5aLrQBe349HLjhCpOkVlQwZ8Gd+Jg8aygoi63rHOnR+cebqNI3NbFxRpFpIkLEipLuamufCLb9wMhPU7RMkZRBa1ZN4x6UYVFIzYutdrtCvRuJ2pIH/ACeOpImIDkE1fOvjELTYZqzVQUN9O7CLrHocBitjuekZ58PyVz0UnQZotDlZ3JT2XiQO6GJRujktgwAAAwAwiaZgjTBj+OCiS3bIiTVw44QHadHyybxQCr8wdKn2hQLwxM0REqfdGwCLSmjpswas+cr1VTFAjgoaqv5weIjFaRsExCtYCpukkBJvmoSpzi1XBIIcvi31MIz7Yy2nZ0qYmbr3ghKL0wAXUlMwKQhxRayXAbAXtsKUbRthyuLS8C7AlpMsPghLkF8o9apyEAla0oGZWQnxMZ/lbyiNllSpUotOXLSorb+GjBwD6SiCA+DPsj51PtRWSVqKlH0lOo9ZL+MLFpfkim3SN8urWN0lbPo1s5WWRD3VmYdiAW94snxgHR/LIrnoSiSkAlVVqJPQUcEs2G2MHcfCvnfBfJ//APVK4q/9a46FpMceas5pa3LPi6R9ltFVK9pXiYFTF8w6y/aV+oxQoVhoyJnCBZVF0y+P7Hugh4FSrX4gjrGENAOiTcBd3OcVpMSnnAbBFbwrAmMYmDFLxY8Kxl0k6w4x8l5QpCbRNASR+LMq7vrHsj6tLVUR8f08om1T2es6Z+sxHozQWaaTZrLuVPA6yO6kAzLa0lKQzhKgx2ibMIpwIh1o/QgVLllU0lKRqBDApcC8CrPWBLNSAOU2gJcmSJiJqsWuKA1ipyTeDFxU1BoInixGbmW2Z+YDgPnA82bMVitR7PlA61selDnRctK5X8QJWVFichRs+MUI080/7dXsphPaAlVklFF0zEzFpyJCFKWTqvQOEl4LKZvNlHOyQlmOqXbcXxhJZFBCgAlKylV5SkpJUEksHZ6B8WzMEugXYXyOV+PXpMX94NFfLVRE8EFul/TE+TSz9oqCKKxBHpbDWPcqk3rQlORvf04QIBRZNIKlgKSpluoAvgyUno7eNIfaL5ZKFJyAv1kUJ4pND2iIWywgWcPMCkg9FgDliXr2R7kxoy+82YHDsgYuAwfhSGwNno3S0uYHSVAeslSfHV7DDRKgoZKHb4Qllojy5DFxQ7RQ9oiRjkSU5JHVErg3jvhMmcsemrrY+Ii1GkF7UnqI8DBSChq2/tERv709rQB/1RQ9BJ4KI+BiE7Td0OZZ6lJPi0Pag5GfPHd737RxVqUPRPvCMvaeWUlJYy5j8EHbv3RBXKqTkFttuj5wmkNQk/DVfb1D0D2j5Rz/AKkr/t9qm+EZE8ppWSZnYn5xA8oUHCWrrKR84TaLWKb8NedLqGCJY4qJ7gRFU3TM3JaE+wj4qfxjHzOUJwCB1qJ7gBEZmkJygCAzvgnCtKqpE7ootYJ+jy3WwrrMKljYpRAfgIT2+3c6AgqZKeihCdUFi5xDnJy5gRIUtwpd4lmDleY2ao7YZaL0EokKW4SDUFg+4YxnPLwb4tOk7fJ3/UvQ5KZdpS5uITKmDYlyUK4AqKTxGyPnzeaR9tXLUQylImJIYpUkhwaEEihDR8x5X8nTZVhSXMlZ1SX1DjcJzpgcwNoMb6XNwoP+DHWYKe9fyI0rPDhDfk8Au0Sg+BViz/w14UwhHfG+GPJ2Z/uZQG1X/rXHc3wcCXJ9cmK11e0r9RiEyJT066vaV+ox4IKqNWOY2IPEFoDv6WQ2Db8otu3ePcOJzMDTVsCRU7Tt8TDAZy7QlYd9bMRFSoVmSSkKTRWYyO2KDal4Gm794kY6TMiC5xhMmad8MrMtCBemKS+QJHhEsoG0hpJUpN8l0uwpicWfqjA2dBmTipTOVFR4kue8xqOVGkBMCQjWAL3srxyfcBCyx2ZKNZWOz5xClYmOTaAhaEAsSAwFciS+zDGANMzgtctM7Wl84HSCQ4NA7GlSH21iNntXOKCiUJukgOw1aVqQ5xhZyinISpN0pLqBLF2rmRR8M45Nsvm9ofhs7PYpSUsiTKSNgQhvCMXyv5pM9KZctCDdvKKGAUSS1BRwBjvh8Jt2XeAvsoPkwJYlmqQ4pGK5R2lRtBOGqmm6rPvYiNMWbfKqE1RcGumgfhGo0HYBLlomICQqYgXncPgTrDeIxKbQW30hvYtLLugORdzfGOkkay5JFpvHEkijt31hRyxJ51JHrf0w20ZKVMWmaNYVLEse+kWabsrqvLSAN5Cj3QAZdAXMSE78TG8sUsIQlCQwSABwEYb7USwSLiaYYltp+EaGyaTXR2Pce6ADSyYptOmLOhXNrnISvNJNQ+DthAtm0onMEcK/vGP0oomdNVLlqJUtRvM1HoxVQUaEkM2itLWd255D7HrAsrSaDMWDNkBGrcImC8fzBQODGMRdYauqo4lSgpXvJoI7IuhQK03txLDrapgHZ9BRNSrorSr2VA+BgbSS2RCfRVklrWZt0IUou6AAwyABelIdaTSq4xmE0zlIeu8Y9kUKzG26zqvJKnZYdKgQdVyGKXeh4HcY8mznC8jEeluOTP1NDwSxNSlCw4lOElmJvVN5qYiCrNZpaeikdfnwjCTpnbijcbE9n0eSG1jV9VNO1TdrGGUjQa6FgN6lFWG5IENpdobPupBUu0DZXu7H+MYuUjpUY/YtkaEbFbD1EpT2lr3fBqNDSxUoKt6nV4xeLQBs4iLPtI64h2aLavCyVLSBRn2DDr/xE02gDHVyrQHrwiKJ2/tiwF88fOeMS4MreuiudpC6Sm6O3wpAk4C0IVKmrVdVQpuDqZVS4xBpF9qsAUHRRWx6EfAwumS1IotKgO7tqIh7os3jskqMNyh5OTbKp1a0slhMApXBKx6CuNC1DEeSclS7XJSlJJJWWG6UusfQRPVdIAvIZikgrSQciDl2RDk/oyVKtN+zoN1fTS7qlsldEA4yydjkUejN6GHV7uJdnkanQvH+0OV/g0U8pvq1gNZWY/McornWwJDJTU4lWJ6shuiueVFa21dZVaP0jFXMbTG5yHVSiqpL+cokuRRhErMq7TugwMYBAkmSRjFk6xJzrBKUxKXshMARNiS1B2xi+Wi+YnyboT0Jj09ZNBwAEb2euo81jE/6hyHTKXmFqR2pB7NWM5KxiuzWlU9bqOqNgYPBVsl72hbo+eJaYharWqY2zZCSS6AjeYsDR++KbakKJcRZLIglVmUqoSSNrfGE1zYDSVpGXcN4q3gDujI6Xmhc5SgCAWAfYABDv7EWYlI4l+5IMVHRSH1lKPAAeJPhGePEoO0NiAExZJSSamH8uxSk4If2lE9wYQQhRHRCU+ykDwEb2KgLREyYkukLA2i8Bx2RbaxMmKUHNCxvKJxD4B3oYtn2jasA5El26oo+3oAAdSmo7M+0nDHcILCiqVooDpL6gG7z8ouOqwSDxL/BoGXpAnBI6z/iBJlrUcT2QDoYqmKzUw7IAtNoT+YHvgOYp8YpIhgXLtAyB8IiFkxW0dCm4QCNLoHSslICJkwIUBiuiVbCFZUyMaC22hBS4XLO/nERgdJaOAKWWFukF0FwHAN07w7GmO2KEWJUslwkXkkEKSlWqrMYsd+Ih3Qqs0qbakOUrSz4pOLBmcbI6rSAGOO7OM3LSEpCQ9I8l8qxlJW7OqEnGNGkOkz1ba+OUTRpLf1eaRmQSDjXjFibRt+X+YW0r5DUo0hxHXBkm3HaBw/aMgm1HqgmTbIW0e+zYS7VBkq0Rk7NbHIAqTgBU9Qxh4bLOSkKUESk/mnrEsD+VitXAJ7IFBt0geRLtjlE4nCsA6VtxcJv44pBAL5PmcYz1s0/Zk9KbOtGV2SOZln+dTrVxhVN5YTki7Zpcqyp2y03lkb5sx1djRa00n3wR+Wou0jfSLRMQi9MNyXkuddQG3FXS6ngWz8pLJz8sBZmzCVfwUC70FEutTA4ZAx8ym89PVeWVzFH0lqJzGZy1h2wdoSzlFrkAkEkKNMtSYG/498aLT44r7MpanJJ9n1+d01e0r9RiBEctCtdXtK/UYiFQzM4cYtlzIitLiKgWpAIP51uESTMD0gSVMyMTFDAOi5RxjOcrbLzkgazNMBcgnI5CH85dGHl4ScqJoRZyouwWkUD4lvExDAxos0oEJVMUVHBIupdtjlRPZBcuzIFbr+0SfkO6BDakkhQli8HYqZw+Iimbbl5MOp/GChjdMwjosn2QB3isVTZoHSUBxMJzPUekonu7hEA0Axou2I2k8AYpVbtie0/AQEFxwqgAKXa1bhwEDzJpOJJ4mKlKiJVCCiy80VqXHL0RJhgdUqKiY6TEDAI4qKzEyYrMAHhHTWIvHQYYFyphJJepxidmS7uW8IoSYulLAFX8+ES+iodl6kNQjt8Q0RMnZHFWmjMGxqfDZFZnDLsiKN7R24N3VHbpwx2BniN98T54RfYLcZb0cHYz4ZE7o0xw3OjOc9qsKkaHmKF5bSk/mmKam0JxPYIvH2OVVRmWlX5UfhI6zVR6oEnSzMdSVGYRik9Ify59UL1Z9fdHT8MI9nO8kpdDefyqnAXZCZVmT/4ksrrmHWPbGfnzlLJUtSlk5qJJPEmLylvOwfvAsUn4iGvs9FlmLKdnYGnUQ/U7xXE5SHJ4fEd0DBDWzTBepQuOPTkZcEGJ6ML2yR7HjKmH4wApYDPUvUCp6Ss8BgM6gwXoJB+1yrwIxxrTmVN1fAiI6Ks+yT9GTL6jqdJWZ2n1YgNGTPU7T9Mej0ZFWWo0bM9TtP0x1eiln8nafpjsegCyn/pkz1O0/TF40bM2o7T9Mej0AWeXoxYpq9p+mEvKLQ01VmmJdD3XqpWN4N6Mdj0S0FmHPJ+ftle8r6IieTs/bK95X0R2PQ6HZwcnJ+2V7yvojv3cn7ZXvK+iPR6ChnPu1P2yveV9EdPJuftle8r6I9HogEyJ5NT9sr3lfRHPuzP2yvfV9Eej0BVnvu1P2yveV9ER+7M/bK99f0R6PQxNkTyYn7ZXvr/ALcQ+7E/bK99f9uPR6GkFnDyZn7ZXvq+iIfdeftle8r+3Ho9DoTOfdeftle8r+3HvuvP2yvfX9Eej0FE2d+7E/bK99X0R08l7RUvK95f0RyPQUNM6eTE/bKb2lf24irktP2yveV9Eej0KirZz7rTznK95X0RNHJi0bZXvKrxFyOR6NMbqXBMuUW/dufQgynFekqmwg3KcINlaEmTABP5sk0E1BIVX8wKGX3GPR6OhybdGdUVaU5G2iWsoKpJxLhSxQgN6FDuhcOSs/bK95X0R6PRlbTKqySOSk8nGV7y/ojU8mv9LlWlKlmcEhCkhSfzJxWym1SwLEhWNRHY9GcpsKR9BsnIGwIlgfZUKYjWUpV+j1K9u5mjJ8p9ArnaWRORcAKauSCSmUpLkBJD4dmUej0RED//2Q==">
            <a:extLst>
              <a:ext uri="{FF2B5EF4-FFF2-40B4-BE49-F238E27FC236}">
                <a16:creationId xmlns:a16="http://schemas.microsoft.com/office/drawing/2014/main" id="{EF4EC89C-FC3F-48B3-B7D7-085CF0730058}"/>
              </a:ext>
            </a:extLst>
          </p:cNvPr>
          <p:cNvSpPr>
            <a:spLocks noChangeAspect="1" noChangeArrowheads="1"/>
          </p:cNvSpPr>
          <p:nvPr/>
        </p:nvSpPr>
        <p:spPr bwMode="auto">
          <a:xfrm>
            <a:off x="2305783" y="-695691"/>
            <a:ext cx="2637692" cy="1450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GB" altLang="en-US" sz="1246"/>
          </a:p>
        </p:txBody>
      </p:sp>
      <p:pic>
        <p:nvPicPr>
          <p:cNvPr id="18453" name="Picture 4">
            <a:extLst>
              <a:ext uri="{FF2B5EF4-FFF2-40B4-BE49-F238E27FC236}">
                <a16:creationId xmlns:a16="http://schemas.microsoft.com/office/drawing/2014/main" id="{82032AAB-F86F-4E54-9A82-32378F01D60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860198" y="2224455"/>
            <a:ext cx="2245687" cy="1606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54" name="Picture 3">
            <a:extLst>
              <a:ext uri="{FF2B5EF4-FFF2-40B4-BE49-F238E27FC236}">
                <a16:creationId xmlns:a16="http://schemas.microsoft.com/office/drawing/2014/main" id="{C06B00AE-6DCC-4F62-AF81-E4F98F5033B5}"/>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074465" y="3840040"/>
            <a:ext cx="2144683" cy="2245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56" name="TextBox 24">
            <a:extLst>
              <a:ext uri="{FF2B5EF4-FFF2-40B4-BE49-F238E27FC236}">
                <a16:creationId xmlns:a16="http://schemas.microsoft.com/office/drawing/2014/main" id="{AC239D19-042F-473C-8A1E-4EB65368FD4D}"/>
              </a:ext>
            </a:extLst>
          </p:cNvPr>
          <p:cNvSpPr txBox="1">
            <a:spLocks noChangeArrowheads="1"/>
          </p:cNvSpPr>
          <p:nvPr/>
        </p:nvSpPr>
        <p:spPr bwMode="auto">
          <a:xfrm>
            <a:off x="1337165" y="4133160"/>
            <a:ext cx="5851830" cy="190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just">
              <a:spcAft>
                <a:spcPts val="415"/>
              </a:spcAft>
              <a:buFont typeface="Wingdings" panose="05000000000000000000" pitchFamily="2" charset="2"/>
              <a:buChar char="ü"/>
            </a:pPr>
            <a:r>
              <a:rPr lang="ru-RU" altLang="ru-RU" sz="1200" dirty="0">
                <a:latin typeface="Bookman Old Style" panose="02050604050505020204" pitchFamily="18" charset="0"/>
              </a:rPr>
              <a:t>Все еще низкие объемы производства мяса и яиц</a:t>
            </a:r>
            <a:r>
              <a:rPr lang="en-GB" altLang="ru-RU" sz="1200" dirty="0">
                <a:latin typeface="Bookman Old Style" panose="02050604050505020204" pitchFamily="18" charset="0"/>
              </a:rPr>
              <a:t>. </a:t>
            </a:r>
          </a:p>
          <a:p>
            <a:pPr algn="just">
              <a:spcAft>
                <a:spcPts val="415"/>
              </a:spcAft>
              <a:buFont typeface="Wingdings" panose="05000000000000000000" pitchFamily="2" charset="2"/>
              <a:buChar char="ü"/>
            </a:pPr>
            <a:r>
              <a:rPr lang="ru-RU" altLang="ru-RU" sz="1200" dirty="0" err="1">
                <a:latin typeface="Bookman Old Style" panose="02050604050505020204" pitchFamily="18" charset="0"/>
              </a:rPr>
              <a:t>Ипорт</a:t>
            </a:r>
            <a:r>
              <a:rPr lang="ru-RU" altLang="ru-RU" sz="1200" dirty="0">
                <a:latin typeface="Bookman Old Style" panose="02050604050505020204" pitchFamily="18" charset="0"/>
              </a:rPr>
              <a:t> яиц превышает объемы местного производства</a:t>
            </a:r>
            <a:r>
              <a:rPr lang="en-GB" altLang="ru-RU" sz="1200" dirty="0">
                <a:latin typeface="Bookman Old Style" panose="02050604050505020204" pitchFamily="18" charset="0"/>
              </a:rPr>
              <a:t>. </a:t>
            </a:r>
            <a:r>
              <a:rPr lang="ru-RU" altLang="ru-RU" sz="1200" dirty="0">
                <a:latin typeface="Bookman Old Style" panose="02050604050505020204" pitchFamily="18" charset="0"/>
              </a:rPr>
              <a:t>В </a:t>
            </a:r>
            <a:r>
              <a:rPr lang="en-GB" altLang="ru-RU" sz="1200" dirty="0">
                <a:latin typeface="Bookman Old Style" panose="02050604050505020204" pitchFamily="18" charset="0"/>
              </a:rPr>
              <a:t>2012</a:t>
            </a:r>
            <a:r>
              <a:rPr lang="ru-RU" altLang="ru-RU" sz="1200" dirty="0">
                <a:latin typeface="Bookman Old Style" panose="02050604050505020204" pitchFamily="18" charset="0"/>
              </a:rPr>
              <a:t>г импорт яиц составлял </a:t>
            </a:r>
            <a:r>
              <a:rPr lang="en-GB" altLang="ru-RU" sz="1200" dirty="0">
                <a:latin typeface="Bookman Old Style" panose="02050604050505020204" pitchFamily="18" charset="0"/>
              </a:rPr>
              <a:t>900000 </a:t>
            </a:r>
            <a:r>
              <a:rPr lang="ru-RU" altLang="ru-RU" sz="1200" dirty="0">
                <a:latin typeface="Bookman Old Style" panose="02050604050505020204" pitchFamily="18" charset="0"/>
              </a:rPr>
              <a:t>еженедельно</a:t>
            </a:r>
            <a:r>
              <a:rPr lang="en-GB" altLang="ru-RU" sz="1200" dirty="0">
                <a:latin typeface="Bookman Old Style" panose="02050604050505020204" pitchFamily="18" charset="0"/>
              </a:rPr>
              <a:t>. </a:t>
            </a:r>
          </a:p>
          <a:p>
            <a:pPr algn="just">
              <a:spcAft>
                <a:spcPts val="415"/>
              </a:spcAft>
              <a:buFont typeface="Wingdings" panose="05000000000000000000" pitchFamily="2" charset="2"/>
              <a:buChar char="ü"/>
            </a:pPr>
            <a:r>
              <a:rPr lang="ru-RU" altLang="ru-RU" sz="1200" dirty="0">
                <a:latin typeface="Bookman Old Style" panose="02050604050505020204" pitchFamily="18" charset="0"/>
              </a:rPr>
              <a:t>Развитие туризма обуславливает повышенный спрос на мясо кури </a:t>
            </a:r>
            <a:r>
              <a:rPr lang="en-US" altLang="ru-RU" sz="1200" dirty="0">
                <a:latin typeface="Bookman Old Style" panose="02050604050505020204" pitchFamily="18" charset="0"/>
              </a:rPr>
              <a:t>     </a:t>
            </a:r>
            <a:r>
              <a:rPr lang="ru-RU" altLang="ru-RU" sz="1200" dirty="0">
                <a:latin typeface="Bookman Old Style" panose="02050604050505020204" pitchFamily="18" charset="0"/>
              </a:rPr>
              <a:t>и яйца</a:t>
            </a:r>
            <a:endParaRPr lang="en-GB" altLang="ru-RU" sz="1200" dirty="0">
              <a:latin typeface="Bookman Old Style" panose="02050604050505020204" pitchFamily="18" charset="0"/>
            </a:endParaRPr>
          </a:p>
          <a:p>
            <a:pPr algn="just">
              <a:spcAft>
                <a:spcPts val="415"/>
              </a:spcAft>
              <a:buFont typeface="Wingdings" panose="05000000000000000000" pitchFamily="2" charset="2"/>
              <a:buChar char="ü"/>
            </a:pPr>
            <a:r>
              <a:rPr lang="ru-RU" altLang="ru-RU" sz="1200" dirty="0">
                <a:latin typeface="Bookman Old Style" panose="02050604050505020204" pitchFamily="18" charset="0"/>
              </a:rPr>
              <a:t>Огромный потенциал внутреннего рынка:</a:t>
            </a:r>
            <a:r>
              <a:rPr lang="en-GB" altLang="ru-RU" sz="1200" dirty="0">
                <a:latin typeface="Bookman Old Style" panose="02050604050505020204" pitchFamily="18" charset="0"/>
              </a:rPr>
              <a:t> </a:t>
            </a:r>
            <a:r>
              <a:rPr lang="ru-RU" altLang="ru-RU" sz="1200" dirty="0">
                <a:latin typeface="Bookman Old Style" panose="02050604050505020204" pitchFamily="18" charset="0"/>
              </a:rPr>
              <a:t>чтобы лишь достичь среднего уровня по Африке (</a:t>
            </a:r>
            <a:r>
              <a:rPr lang="en-GB" altLang="ru-RU" sz="1200" dirty="0">
                <a:latin typeface="Bookman Old Style" panose="02050604050505020204" pitchFamily="18" charset="0"/>
              </a:rPr>
              <a:t>4.9</a:t>
            </a:r>
            <a:r>
              <a:rPr lang="ru-RU" altLang="ru-RU" sz="1200" dirty="0">
                <a:latin typeface="Bookman Old Style" panose="02050604050505020204" pitchFamily="18" charset="0"/>
              </a:rPr>
              <a:t> кг потрошенной продукции/год</a:t>
            </a:r>
            <a:r>
              <a:rPr lang="en-GB" altLang="ru-RU" sz="1200" dirty="0">
                <a:latin typeface="Bookman Old Style" panose="02050604050505020204" pitchFamily="18" charset="0"/>
              </a:rPr>
              <a:t>), </a:t>
            </a:r>
            <a:r>
              <a:rPr lang="ru-RU" altLang="ru-RU" sz="1200" dirty="0">
                <a:latin typeface="Bookman Old Style" panose="02050604050505020204" pitchFamily="18" charset="0"/>
              </a:rPr>
              <a:t>Руанде нужно увеличить собственную продукцию в </a:t>
            </a:r>
            <a:r>
              <a:rPr lang="en-GB" altLang="ru-RU" sz="1200" dirty="0">
                <a:latin typeface="Bookman Old Style" panose="02050604050505020204" pitchFamily="18" charset="0"/>
              </a:rPr>
              <a:t>20</a:t>
            </a:r>
            <a:r>
              <a:rPr lang="ru-RU" altLang="ru-RU" sz="1200" dirty="0">
                <a:latin typeface="Bookman Old Style" panose="02050604050505020204" pitchFamily="18" charset="0"/>
              </a:rPr>
              <a:t> раз. Аналогично, яичную продукция требует </a:t>
            </a:r>
            <a:r>
              <a:rPr lang="en-GB" altLang="ru-RU" sz="1200" dirty="0">
                <a:latin typeface="Bookman Old Style" panose="02050604050505020204" pitchFamily="18" charset="0"/>
              </a:rPr>
              <a:t>14</a:t>
            </a:r>
            <a:r>
              <a:rPr lang="ru-RU" altLang="ru-RU" sz="1200" dirty="0">
                <a:latin typeface="Bookman Old Style" panose="02050604050505020204" pitchFamily="18" charset="0"/>
              </a:rPr>
              <a:t>-кратного  увеличения</a:t>
            </a:r>
            <a:r>
              <a:rPr lang="en-GB" altLang="ru-RU" sz="1200" dirty="0">
                <a:latin typeface="Bookman Old Style" panose="02050604050505020204" pitchFamily="18" charset="0"/>
              </a:rPr>
              <a:t>. </a:t>
            </a:r>
          </a:p>
        </p:txBody>
      </p:sp>
    </p:spTree>
    <p:extLst>
      <p:ext uri="{BB962C8B-B14F-4D97-AF65-F5344CB8AC3E}">
        <p14:creationId xmlns:p14="http://schemas.microsoft.com/office/powerpoint/2010/main" val="25371018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Placeholder 2">
            <a:extLst>
              <a:ext uri="{FF2B5EF4-FFF2-40B4-BE49-F238E27FC236}">
                <a16:creationId xmlns:a16="http://schemas.microsoft.com/office/drawing/2014/main" id="{18B1865E-E2A0-4AB4-8F2C-4EE3EE4E6D84}"/>
              </a:ext>
            </a:extLst>
          </p:cNvPr>
          <p:cNvSpPr txBox="1">
            <a:spLocks/>
          </p:cNvSpPr>
          <p:nvPr>
            <p:custDataLst>
              <p:tags r:id="rId2"/>
            </p:custDataLst>
          </p:nvPr>
        </p:nvSpPr>
        <p:spPr bwMode="auto">
          <a:xfrm rot="16200000">
            <a:off x="3355182" y="524060"/>
            <a:ext cx="1280745" cy="5716098"/>
          </a:xfrm>
          <a:prstGeom prst="rect">
            <a:avLst/>
          </a:prstGeom>
          <a:noFill/>
          <a:ln w="9525">
            <a:solidFill>
              <a:srgbClr val="FFFF00"/>
            </a:solidFill>
            <a:miter lim="800000"/>
            <a:headEnd/>
            <a:tailEnd/>
          </a:ln>
          <a:extLst>
            <a:ext uri="{909E8E84-426E-40DD-AFC4-6F175D3DCCD1}">
              <a14:hiddenFill xmlns:a14="http://schemas.microsoft.com/office/drawing/2010/main">
                <a:solidFill>
                  <a:srgbClr val="FFFFFF"/>
                </a:solidFill>
              </a14:hiddenFill>
            </a:ext>
          </a:extLst>
        </p:spPr>
        <p:txBody>
          <a:bodyPr lIns="25322" tIns="12661" rIns="25322" bIns="12661" anchor="ctr"/>
          <a:lstStyle>
            <a:lvl1pPr marL="342900" indent="-34290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120000"/>
              </a:lnSpc>
              <a:buFont typeface="Arial" panose="020B0604020202020204" pitchFamily="34" charset="0"/>
              <a:buNone/>
            </a:pPr>
            <a:endParaRPr lang="en-GB" altLang="en-US" sz="831">
              <a:latin typeface="Helvetica Neue" charset="0"/>
            </a:endParaRPr>
          </a:p>
        </p:txBody>
      </p:sp>
      <p:sp>
        <p:nvSpPr>
          <p:cNvPr id="50" name="Text Placeholder 2">
            <a:extLst>
              <a:ext uri="{FF2B5EF4-FFF2-40B4-BE49-F238E27FC236}">
                <a16:creationId xmlns:a16="http://schemas.microsoft.com/office/drawing/2014/main" id="{29B2C95D-F004-443B-A3F8-0A2A4CFF63DF}"/>
              </a:ext>
            </a:extLst>
          </p:cNvPr>
          <p:cNvSpPr txBox="1">
            <a:spLocks/>
          </p:cNvSpPr>
          <p:nvPr>
            <p:custDataLst>
              <p:tags r:id="rId3"/>
            </p:custDataLst>
          </p:nvPr>
        </p:nvSpPr>
        <p:spPr>
          <a:xfrm rot="16200000">
            <a:off x="2993449" y="2493686"/>
            <a:ext cx="2023629" cy="5476878"/>
          </a:xfrm>
          <a:prstGeom prst="rect">
            <a:avLst/>
          </a:prstGeom>
          <a:noFill/>
          <a:ln>
            <a:solidFill>
              <a:srgbClr val="3366FF"/>
            </a:solidFill>
          </a:ln>
        </p:spPr>
        <p:txBody>
          <a:bodyPr lIns="0" tIns="0" rIns="0" bIns="0" anchor="ctr"/>
          <a:lstStyle>
            <a:lvl1pPr marL="342900" indent="-342900"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lnSpc>
                <a:spcPts val="831"/>
              </a:lnSpc>
              <a:defRPr/>
            </a:pPr>
            <a:endParaRPr lang="en-GB" sz="831" dirty="0">
              <a:solidFill>
                <a:schemeClr val="bg1"/>
              </a:solidFill>
              <a:effectLst>
                <a:outerShdw blurRad="38100" dist="38100" dir="2700000" algn="tl">
                  <a:srgbClr val="000000"/>
                </a:outerShdw>
              </a:effectLst>
              <a:latin typeface="Helvetica Neue" charset="0"/>
              <a:cs typeface="Helvetica Neue" charset="0"/>
            </a:endParaRPr>
          </a:p>
        </p:txBody>
      </p:sp>
      <p:graphicFrame>
        <p:nvGraphicFramePr>
          <p:cNvPr id="20484" name="Object 51">
            <a:extLst>
              <a:ext uri="{FF2B5EF4-FFF2-40B4-BE49-F238E27FC236}">
                <a16:creationId xmlns:a16="http://schemas.microsoft.com/office/drawing/2014/main" id="{06BEC6B8-D5B7-421A-A800-2352E56710D1}"/>
              </a:ext>
            </a:extLst>
          </p:cNvPr>
          <p:cNvGraphicFramePr>
            <a:graphicFrameLocks noChangeAspect="1"/>
          </p:cNvGraphicFramePr>
          <p:nvPr/>
        </p:nvGraphicFramePr>
        <p:xfrm>
          <a:off x="2198077" y="0"/>
          <a:ext cx="109904" cy="109904"/>
        </p:xfrm>
        <a:graphic>
          <a:graphicData uri="http://schemas.openxmlformats.org/presentationml/2006/ole">
            <mc:AlternateContent xmlns:mc="http://schemas.openxmlformats.org/markup-compatibility/2006">
              <mc:Choice xmlns:v="urn:schemas-microsoft-com:vml" Requires="v">
                <p:oleObj spid="_x0000_s6153" name="think-cell Slide" r:id="rId16" imgW="38100" imgH="38100" progId="">
                  <p:embed/>
                </p:oleObj>
              </mc:Choice>
              <mc:Fallback>
                <p:oleObj name="think-cell Slide" r:id="rId16" imgW="38100" imgH="38100" progId="">
                  <p:embed/>
                  <p:pic>
                    <p:nvPicPr>
                      <p:cNvPr id="20484" name="Object 51">
                        <a:extLst>
                          <a:ext uri="{FF2B5EF4-FFF2-40B4-BE49-F238E27FC236}">
                            <a16:creationId xmlns:a16="http://schemas.microsoft.com/office/drawing/2014/main" id="{06BEC6B8-D5B7-421A-A800-2352E56710D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98077" y="0"/>
                        <a:ext cx="109904" cy="109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Rectangle 46" hidden="1">
            <a:extLst>
              <a:ext uri="{FF2B5EF4-FFF2-40B4-BE49-F238E27FC236}">
                <a16:creationId xmlns:a16="http://schemas.microsoft.com/office/drawing/2014/main" id="{E2E1FAD2-6CA2-49F4-869F-B9E310D19FCC}"/>
              </a:ext>
            </a:extLst>
          </p:cNvPr>
          <p:cNvSpPr/>
          <p:nvPr>
            <p:custDataLst>
              <p:tags r:id="rId4"/>
            </p:custDataLst>
          </p:nvPr>
        </p:nvSpPr>
        <p:spPr bwMode="auto">
          <a:xfrm>
            <a:off x="2198077" y="0"/>
            <a:ext cx="109904" cy="109904"/>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defRPr/>
            </a:pPr>
            <a:endParaRPr lang="en-US" sz="415">
              <a:cs typeface="Calibri"/>
              <a:sym typeface="Calibri"/>
            </a:endParaRPr>
          </a:p>
        </p:txBody>
      </p:sp>
      <p:sp>
        <p:nvSpPr>
          <p:cNvPr id="20486" name="Text Placeholder 2">
            <a:extLst>
              <a:ext uri="{FF2B5EF4-FFF2-40B4-BE49-F238E27FC236}">
                <a16:creationId xmlns:a16="http://schemas.microsoft.com/office/drawing/2014/main" id="{CAC393BE-6881-4A0A-AA14-D3B03372A8C1}"/>
              </a:ext>
            </a:extLst>
          </p:cNvPr>
          <p:cNvSpPr>
            <a:spLocks noGrp="1"/>
          </p:cNvSpPr>
          <p:nvPr>
            <p:custDataLst>
              <p:tags r:id="rId5"/>
            </p:custDataLst>
          </p:nvPr>
        </p:nvSpPr>
        <p:spPr bwMode="auto">
          <a:xfrm>
            <a:off x="2984989" y="2933335"/>
            <a:ext cx="265967" cy="94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buSzPct val="25000"/>
              <a:buFont typeface="Arial" panose="020B0604020202020204" pitchFamily="34" charset="0"/>
              <a:buNone/>
            </a:pPr>
            <a:endParaRPr lang="en-US" altLang="en-US" sz="623">
              <a:latin typeface="Calibri" panose="020F0502020204030204" pitchFamily="34" charset="0"/>
              <a:sym typeface="Calibri" panose="020F0502020204030204" pitchFamily="34" charset="0"/>
            </a:endParaRPr>
          </a:p>
        </p:txBody>
      </p:sp>
      <p:sp>
        <p:nvSpPr>
          <p:cNvPr id="20487" name="Text Placeholder 2">
            <a:extLst>
              <a:ext uri="{FF2B5EF4-FFF2-40B4-BE49-F238E27FC236}">
                <a16:creationId xmlns:a16="http://schemas.microsoft.com/office/drawing/2014/main" id="{61CB47D0-EBA4-421F-93D7-5CD1B44ED516}"/>
              </a:ext>
            </a:extLst>
          </p:cNvPr>
          <p:cNvSpPr>
            <a:spLocks noGrp="1"/>
          </p:cNvSpPr>
          <p:nvPr>
            <p:custDataLst>
              <p:tags r:id="rId6"/>
            </p:custDataLst>
          </p:nvPr>
        </p:nvSpPr>
        <p:spPr bwMode="auto">
          <a:xfrm>
            <a:off x="2984989" y="2933335"/>
            <a:ext cx="265967" cy="94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buSzPct val="25000"/>
              <a:buFont typeface="Arial" panose="020B0604020202020204" pitchFamily="34" charset="0"/>
              <a:buNone/>
            </a:pPr>
            <a:endParaRPr lang="en-US" altLang="en-US" sz="623">
              <a:latin typeface="Calibri" panose="020F0502020204030204" pitchFamily="34" charset="0"/>
              <a:sym typeface="Calibri" panose="020F0502020204030204" pitchFamily="34" charset="0"/>
            </a:endParaRPr>
          </a:p>
        </p:txBody>
      </p:sp>
      <p:pic>
        <p:nvPicPr>
          <p:cNvPr id="20488" name="Picture 9" descr="http://tonyblairoffice.org/page/-/images/agi/rdb%20logo.jpg">
            <a:extLst>
              <a:ext uri="{FF2B5EF4-FFF2-40B4-BE49-F238E27FC236}">
                <a16:creationId xmlns:a16="http://schemas.microsoft.com/office/drawing/2014/main" id="{A563F506-0D75-44D6-A5AA-EFC4AA67536C}"/>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129148" y="6243941"/>
            <a:ext cx="822887" cy="370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9" name="AutoShape 4" descr="data:image/jpeg;base64,/9j/4AAQSkZJRgABAQAAAQABAAD/2wCEAAkGBxQTEhUUExQVFhUXGBgYGBYWGBgaHhgXGBcXHBgYGBgcHCggGBolHBcYIjEhJSkrLi4uFx8zODMsNygtLiwBCgoKDg0OGxAQGiwkHyQsLCwsLCwsLCwsLCwsLCwsLCwsLCwsLCwsLCwsLCwsLCwsLCwsLCwsLCwsLCwsLCwsLP/AABEIAKYBLwMBIgACEQEDEQH/xAAbAAACAwEBAQAAAAAAAAAAAAAEBQIDBgEAB//EAEUQAAECAwQFCAcGBQMFAQAAAAECEQADIQQSMUEFIlFhcQYTMoGRobHwQmJyksHR0hQWI1Ky4TOCwtPxBySiFVNjs+I0/8QAGQEAAwEBAQAAAAAAAAAAAAAAAAECAwQF/8QAJxEAAgIBBQACAgEFAAAAAAAAAAECEQMEEiExQRNRFCKBMmGxwfD/2gAMAwEAAhEDEQA/ANbNAvKoOkoknElz3RWskYHqgiaNZXtHxMDlFYkqylaXxA4buuMZyn5PBCStIPNHEZyicCn1fDhG7CPLRIygQQRQhiDrJIOIIOUAj4VNQqWq6rqP5ht/aLER9H5Sci0rlk2eik6wlu9cwk41wY7tlfn2j7MqZMTKSNclmNGObvg2cT2XFhliqLoN1Tghg+G7YxPZDNSiVKJLklydu+HmiuSCEVXNvKat1CcScUqNYq5S6HTZwgoUo3wp7zUIagbjCqhylYokqrvyjb6L0smVKElM5SQAXDS2vHpYrBzMY/QtmKjeySxLtV8g5DlhlWmEMBYjeOs15VHQzkk0BKmMTL6EjSybcCVgzk3SokJNy7VSqhHOMKNhEpEx0Xb6CHOqU06ZxaWuEKLCpVHFGFAS5Oy6Ccu+JI0aspcYOrJQwJGNz4xIUixTB0viqYTuJIpUD8po0UE6+9x8M4nZ5BCyfXaj4uS+GEcnKaZKAFVLrT0QE4niR2mKAzmh58s2iXQl1YqZgS7MkDxMOtMVnED/ALaHrtM1mpjjnGW0aP8AcAhtWa54CZlH0eXoaXNWpalLBYJYMzJvkYj1zFtEozk6X/sUjo6w6ZFNdeLOM8oBtZaYX3NTAMKb+MP9J6GSiQmzy1EC+litiekS1GxeI2fQqFr5yZrAuEpDgEAnWURlsEIBJZ0JmTxeTf1MKmowoMaGBNO2fm5q0VZwoDC7eAN1mxDx9AsqKXUgJTWiQ2T4DqjPcstGFxOxBAStsiAyVcCKcQNsA0I9AEmchrpN4XQrokuLoVuKmEa202xKbPMlqvJmGUU3WSHVfVRWBZi2fWGhDyT0WVzQtzclFKz6xBdKN1Q/Ab43s8Xpa0rAIKEuDUEX6gvu8BCfI3aMPY0lgdr+Ih4lIYAeelE7Zokc3zspN0Ie8irXXGsgnZmneSM4pkr89sTIaL0p+NODQPak4cB+tcEKy87IFnrFHUBQYlvSVERAusAiXKNRShE4JB5s1o5AUzHg9OuAft1wi6ApsSCWNMI6vTcwkMlrpej45eeEUk07E2g2yWtE3Wlm+Sl2DnVDkukYNnC6z6Rlrmc4FklSEgi8HS5cC6KJLJL9UJdIaSu2qXMqg6qV80AFFClV4qIJ7oa2vS8rWRLSQ6VupKUnXvPLSygCoAODUVO9oe0Qv0hPck5PTGp3QB9nUqrb41C7UlSlypkxSlIupVLF24laiwqzuAajI4NAdos6RQYf5ikwEwk74nzB+T1r4dtIMXKFaZxBaA8MAG558+GJOMe5vj5/qOZygth58+dsdMsdnV1P6PshwdsKwBbpxbqFBTAB/RG2D9Cj8aXQVKiaipuKwAIoHiopG4U3g/8Ax7OcH6GlDnkUd3wcPqKqn8o3QWBt5qmCj6yvExxXRBiFuUwI9ZXiYsk1SRsjaiSpOEWJVFUouTwiSJgArBQi0HZCvSWigZiZ8sVCgZia4YXhvbEdcNFJzBpFkpbRLQxTJxPnZC/luh5Es7FkZekn/wCYd2uz3VAp6Ku45j4iF/KhD2Qn8qkHEZ0+MTIaMpYbRcuoC5gKmdKTqkq2geoWc7xDOz2mSNcqtF/8JIIEu8UiqkAs1FF0A0FXhNLWnnkXRTVqXJw4tgwwizRloZaKXmVfTiLpUpAIBLk6qTQ/mo0TRQ+0JpJTzVWhc5LlLKSEklnBCnYUpkGrCXlXbiLOTLUrpUU9SjnFKLgUwg7SdquzpywVIN+Y7FQN4kOKNdqTCjlMnm5QE4LAE1ImBtZlKU4IO1xEY3uHNJdFHJ/SS5k1KVHVcKupKwlwpNbpVvMPJdnARereBlMXUWvTUhWJaogXRBlruLQgAKS6VXEPdfE0xoOyNBOlBKUarggUCEVZSmvNiQodwjYzMdKsqlqmzApL86UhAu3mCnOqz3GIruMfQtG4nr8IzmlbPKUhRlyFoWCS6AA7AFZWE1UGesaKwHh5ECYA2krMJhunAl8AcjkYnYrMi5dMwgAMBdSaYMCA8TtH8QcfnAUy0XGLpDqA1iBnhWIkA2uJuhlV9JJDbXILsRFc+6UlK2aoqH6iGrAcq0BSQpKgobQXFN8U6VVqJ9oV6jAOwiwTZMpLIuIvEkgAs5HyaCxpCXVzsyVllhCackqN8gOoAkCjmgcDeSk7yqkWSmS15OrmVOA2ZfGnXwMMdmfnyrQuaZiUnEqAvJZIdgA5bBhV40TFICBdKQSQWD1Gaseo4ERTZpovFsGPWL3AQWVpMJxsLsprSneNvGAFWdOJTVy+GNCR3jthiqaBgPNIXTC972lfpRCSoHyeZsqed8QsJoaYqJPWQ2exolNOqeEes3SbePFvhDYjH6QWpdrXTW5xTBO1L3QOwQTYtIrSFKEzo3VoQZaVBRBDpKqKTUY1G6F9sSeeWoFjziy/8xj1nQQ4O/vqPGKY/CEm3KC1HAqUSWzJxJ9Y5mD5WkTthNPRnHOcpAOjRC1b38+ewxxdo+Xl/NISS7Rk8XptB/auB894hiGnPd54ddc8duBBiXOjbTImlD4JqxADgwsTN63fbUNUYPUVxxCjFonb3NX2q2vidZJfKsFAMBM450zcbsLwyJxEMNDTvxkPVySWz1FMp2qYR87Vn7duKVEYmlOyGWg5zz5e11EDZqKCkgVavhCoRv8ASitY8T4mJWaeyFHgIjb6udilD/kYGTM1bu9+5o2S4ICnZXb34RUsxM4DgIqSoYny0OhhSSdtIulTXLd8ClTiJ2Y1EKgDV1F04KHYcoWaYlvZpydgGzJQ2wbNmU649aklSJgHpIUesD9h2xlNcDs+cTJKJNwrWSvIOkDc71wNYhY7PMuhYBACmCizAkpSj/kk9hgbSkorVNmXQoJmJQpWy8HQNwx7IvRayoiWlF4IGquoD3lLqk7AtY78oTGjtvlmZNUZT82FVcgP0dY1xIBJZ3Ji/wD1CPOpJSXCp0sAh2LsMDvgmzTkhJWhIBvMsC61AcBjg+ELNMLWtipglRksEhgDzoB1cj8oXoPov0Va1SUSkc0taUJu3wRUVrdy4QdaOVtUJ5hbjV6afzE1BHrd0K584S032JKgABuIcDs8YnL5qY3PBiapWK3dgUDinb8IpuiSHKC1c6Ura7dSQGU5d3xYNG90aqnndHz+0JAWqUoJDPdKW1huGVDG+0WadngIOPBkLfNCVAkgAHEts8YwHKW0CYtRvOAEhLFwCcW4vXhGw5WPzdMbya7K1MYjTk3BIusQCWBFSQTR6RPo/BhoXSXMhaVAlClKIusbqmIIUHcUD9UNLVppBSlN1bpAvKDF6ZB3aM7ZFa0zPXHV069UWTFNHZgwRyRbZhkyOLSRqrQPwkuSdUqetUuijPvT7sAzbW4aoS7+0R8P3i+2WhBs6TfAvSygEH0lc2ABv3bjGVkKUicU84biVsy1kkpZ8M45UjZmpscw4ku6QrtJpvwgnnYukaTkE6iSasGltwx4xHSkyoejCgYb3q/CBoaZQqcXpltfdm1GdPvboHmTWCv5ie6BrVpCVLNxRmFwXu1Avmo24/CJiYFEHEEqOGTmObDOUm2+vDXLilFJtHJFvTMAuqSTRwC+e0UOEFWeZ+IkbS3XUjwMUBIDAAAVLb/JjoSHdsLzHY6ThG5kZ6eAkKWoOASS3HzWLLPZTNAYKQateDEv0Q2Ry7IJly2Ay3xdpFa538NSULW98lywAa8GAAUrFtgeFZozLzgajOtN4xEAE1hmuxKkG4qqgxfJQ2jcYAnByTg5LDr8iKJR5JpE0TPP79kUpMdQK7O7PPshjoI53PzTW2cRF8uY2GXH0TubJUCIQbt5qChNGdj+0cAwxrTDaneICRgKU4jsLjDd5pDXQCv9xL4kjLGUt/L5b4RyZpzByOBzDYMIc8l5ZVPln0QS5Of4a4TY6vo+llTqWPWV+owOUMYmtbLUfWV+oxy2LAyoc43Mi9IcDh8YEm9LdlF1mW6OBI6iXHjA9oVrpG49zQeh4EXmEX2ZLNA6Q5glBg8A9MMFWcPT4PiGPwgMQTZlVEQ1aGfMJs/mp08qSFDnJbgjBkqDjg7dcQGkpZmH8CWu96Sizvg5fKH3KjRSElag14qUp2YvziRtORaLOTFkl82SEVvEPqijAgY7zlnGMpVGzXHHdKmxZJtF5ExIShLBLc2aFKr4FMmrFOlUgSUs1FyGbAPNSfnDfTEsJmmjXpQLOC91Z2GmMZ/Ti3saiHoUYhujNCcBhBF2rDIkm0jltRTm8aAoJOGwjMnJs2BipdpSlk1owZ3dn1js6WELbXaCtMkO7ZcG2dcSkpJUM6h8KBxXui6MhispSFEJ1mNTVnHdH0HQynQDuT+kRj5Viv4pBGDEs+7/ADDuw6VEsAMSKMzYBxt2ACAYRyotBRLUoAlQwSATeJYXaZF6nZHzOc4DEEBnqkj0QTU4gEtG90ja1rllSVBKgaHN8TgK0bvgFdiROQEzQ90O4K0qJAYuHIrXKFYzPWSZrTDsU439LPri+1zQlIL0vAcQ7kNweK5sgSp0xAL0SXPrV7njR6DssqZJdTghRSWDuwcEu9WVGq1HxQd9MyljUmC2hAm2CVUgFT0NQ0wkQoTo0JLhaicXNXptjT6Ss7SShALJWWG68g/GFCbDNV0UE9nzjJT3fsaVRfZNQgA0uy1VY1U5PVSDrTalLZzhsDbMeyF0pTkH/wAcv+oQRfiW2ykgC16OWpZUhV0Kz2beO2DrKkJAD4Xg5z1jXzti1BcgDa3bBiNDzkllJAOy8k9I0wMTCKia5M0ppJ+Ap2+cf2joPS4H9MXWuxqlllpuk1FQXGDuHzgYka3CLRiLrOBdBIc5k8TB9mVk7dSuou1P8wFIqhPnMwVZ5QiWapcF+l7IJyUgnW1rpzCqUriHxAhdyhsBssiZZ13DMlgpwdlLLhSXDgMpwYZCwy1FJKahT0JDvi4B2R3TOl7LaZ8yWoJJCUqpeupSEpJZVSpTkZUYh8YcWTJNHzqTt7jXdFpTwglFmvAVY9TGHFl5LTFA/iSwwcu7dqXhsaaM6pbBsQHYZVp8XiAcmlf8NGlHJdXNqmKXLATlrm9womFqJRUoIcJDtdQlgRxqe0wCbR6wSbxAWo3VNQVe6KOchvjRWScJc2Td6JKgwphLXnAsmyJExSZaSzAAE3i7hwrYfgY0GhdHvaU3Uk3QTq3KEpIdlkD4xD/qNFJKLH8/pK9pX6jHp9Ujs7IitWsr2lfqMTllwR1x1s5QOyTiCUvnht2Hzsi6cBzqPZUO9Jge22dloWMHDwTLH4g3JPaSPlB3yAYkRKIAxJ4GCOxdLMURagwkMQcsUtXJSSesFD94jKWOZOf8JiwdUski+ARUKyVVo1/LmWTZb4xlqB/lXqq77p7YQaGsgMtUwrwPRSoitbrh2JcChpWMaqyk+SpVoQqYlwqWq6pKkLBD1SXvGhDg55xO36JmTJC0JMslSizTEkVmXgHG6NDLW6QXKKYEJSf0+XirmFEBaLoD1vLrlU0YQgbtmNsPJMpIE2ZcUD6CQoEavpEj9qw1naCQnXlKUooBJv8ANhJYZFw+1sTDq3WWatjz0q8KJlkkltgLU7IWJss2YCXSz4CmOyHbJK9H25SZabwulqrAoWxIoMDllFsjRy5iXRMlNVjn1lyINOhVXalNwPQkJpUs/HZsO2ArPZSXD0NWYKxxugj4wDLTo8pAAXLH4gXrKOSACDvJETRZ9YEzUgMsFICiSVuxfJnPGJyNUJQmSU+iHIAoOBjlp0gJZAUUgkUosk9gwgoLBzLlywog84steJlpCmHrEPRsIlYrWtYLo1SQUMqWGSwzDXnxemMLJ2kLOqYyudUpZolICQSaMmrwfLASsBCSEBJF0n0ioaxUcgARWJnCMlUkF0OdHJSpRC0ApdbpUxr+G2FHxglWj5QULqUyzj0ArxEZqwaSQZplJWCpTqTdU9wJCQwLM1D70aiULtwDAAdob948vVZ54JpRfH0aRSl2Ar0LKTVUw5ZMSz5ua1OWcAJ0agrbnQkE7KJGQJUoOeqHFhtCjNCVJSWCnNDeqLtMqQfOVLB/hB9yR8ov8tNfvLa/7K/9MFGhDatEy5aazCskO6WATi2BLmmcN/td6WFpJ1w5JYknPE1ga02lCucSWdIAYPSmzbWIyJjoSmWdlKgsMjQ5RlqPklTi3/yGqFtttBTPvA6ySggjaAI3IRKWLxmKBO0KV3u8Zu0aFvKKjec7xTcHBgqXbbtFEgkKUSKDVqQK45tHTLO8MYblfHP34RV3QPykscsyStM2zKOIUlCxMJeqXBILmmsMozMmH9qs5tDXTqte1iRizZGBVaCUMD4H4p8I6MeT5I7ki4yrsp0cm9MQn8ykp7SB8Y2Vt/0xs7EyVzEKAN0XnD5B2cB4ydksy5M2WtYF1K0qJqAwUDiQwwj65YdIy5weWtKtyVJV4GNoL7FKX0z5ZpTkAuSgNMBcAqTdDBTa3fm0ZW1aAnoOqtadwUbrbgSQM+2PtumLQk0qeDeEZO3JTUlgPWYN1wsiro3xVJfsjFBTJuFEwJzF9++nkwD9mlJVfAmgh2BBUMMwx8Y106zJNQ3UYEmWXdHO8rR0fiwfTEBmSgApE67MOJXLoQSHDhTgB89mUNNDicibLItdnBU7oKFIUWSpxeKiCx7Wia7Gk4pETsWj087L1CQCcMtRW8N5GQhxyW6JyabarGk066vaV+oxbKXV4rtaddXtK/UY5LVHoHmEraWQrcC3YWiFiU7KzIHhE55cRToxiptzj4w0DGSY88Tu0ioQgJPEwYqiZhDI6VlX7POQz3pSw38pPiI+ZaC0qlLqUQkMAxcu7ZAHZ3x9Uk1IG2h4Ghj4wqUZZKCGKdVhsHwjN9gbqRbkqAYpUKsQT5pwgsWkXWKW6g+58IzVneVZUTZhl82pwlyLzgkFISTrCj0wcwTZbNzbTVzZZExKVgyyVIALhn/M7vShEYSk1ba6KQ2VaWUFJIJGagk4edkXItJUC4SVHFV4h+IqOzZGZt9r1mQss4qhSgwzwAYdcRstsWFVmraoZS6P/MW74uMrjuaE+zQ82ZgCiUhnooMaHOkVyULQoqCklwzXSzdZx3wBpSYu4SlawwfVWrPgcIBE0GzSFLWp1Ga5K1Oq7MUA9cqCCE1NXQNUaKx2pSpgCiOoNGe5TEKnhBIBLJD7VKb4iC9AFHOOhthIL5ihhTyomkWkKHoknsKSI1oQz0PZESLS6xgFBJuksDgwApRx1mA7Zo6bPmKM3oE0BYBsqHGkPLNaEzA4w7w+Ri77ClVHHAjweJAB0bYpUog3gCPyCvblD6VbwSAEqO93OB6s4Dl6MQMUq6oIFsQigBfrHjHPlxKfY06DuaBINRrJNW27j5aLrQBe349HLjhCpOkVlQwZ8Gd+Jg8aygoi63rHOnR+cebqNI3NbFxRpFpIkLEipLuamufCLb9wMhPU7RMkZRBa1ZN4x6UYVFIzYutdrtCvRuJ2pIH/ACeOpImIDkE1fOvjELTYZqzVQUN9O7CLrHocBitjuekZ58PyVz0UnQZotDlZ3JT2XiQO6GJRujktgwAAAwAwiaZgjTBj+OCiS3bIiTVw44QHadHyybxQCr8wdKn2hQLwxM0REqfdGwCLSmjpswas+cr1VTFAjgoaqv5weIjFaRsExCtYCpukkBJvmoSpzi1XBIIcvi31MIz7Yy2nZ0qYmbr3ghKL0wAXUlMwKQhxRayXAbAXtsKUbRthyuLS8C7AlpMsPghLkF8o9apyEAla0oGZWQnxMZ/lbyiNllSpUotOXLSorb+GjBwD6SiCA+DPsj51PtRWSVqKlH0lOo9ZL+MLFpfkim3SN8urWN0lbPo1s5WWRD3VmYdiAW94snxgHR/LIrnoSiSkAlVVqJPQUcEs2G2MHcfCvnfBfJ//APVK4q/9a46FpMceas5pa3LPi6R9ltFVK9pXiYFTF8w6y/aV+oxQoVhoyJnCBZVF0y+P7Hugh4FSrX4gjrGENAOiTcBd3OcVpMSnnAbBFbwrAmMYmDFLxY8Kxl0k6w4x8l5QpCbRNASR+LMq7vrHsj6tLVUR8f08om1T2es6Z+sxHozQWaaTZrLuVPA6yO6kAzLa0lKQzhKgx2ibMIpwIh1o/QgVLllU0lKRqBDApcC8CrPWBLNSAOU2gJcmSJiJqsWuKA1ipyTeDFxU1BoInixGbmW2Z+YDgPnA82bMVitR7PlA61selDnRctK5X8QJWVFichRs+MUI080/7dXsphPaAlVklFF0zEzFpyJCFKWTqvQOEl4LKZvNlHOyQlmOqXbcXxhJZFBCgAlKylV5SkpJUEksHZ6B8WzMEugXYXyOV+PXpMX94NFfLVRE8EFul/TE+TSz9oqCKKxBHpbDWPcqk3rQlORvf04QIBRZNIKlgKSpluoAvgyUno7eNIfaL5ZKFJyAv1kUJ4pND2iIWywgWcPMCkg9FgDliXr2R7kxoy+82YHDsgYuAwfhSGwNno3S0uYHSVAeslSfHV7DDRKgoZKHb4Qllojy5DFxQ7RQ9oiRjkSU5JHVErg3jvhMmcsemrrY+Ii1GkF7UnqI8DBSChq2/tERv709rQB/1RQ9BJ4KI+BiE7Td0OZZ6lJPi0Pag5GfPHd737RxVqUPRPvCMvaeWUlJYy5j8EHbv3RBXKqTkFttuj5wmkNQk/DVfb1D0D2j5Rz/AKkr/t9qm+EZE8ppWSZnYn5xA8oUHCWrrKR84TaLWKb8NedLqGCJY4qJ7gRFU3TM3JaE+wj4qfxjHzOUJwCB1qJ7gBEZmkJygCAzvgnCtKqpE7ootYJ+jy3WwrrMKljYpRAfgIT2+3c6AgqZKeihCdUFi5xDnJy5gRIUtwpd4lmDleY2ao7YZaL0EokKW4SDUFg+4YxnPLwb4tOk7fJ3/UvQ5KZdpS5uITKmDYlyUK4AqKTxGyPnzeaR9tXLUQylImJIYpUkhwaEEihDR8x5X8nTZVhSXMlZ1SX1DjcJzpgcwNoMb6XNwoP+DHWYKe9fyI0rPDhDfk8Au0Sg+BViz/w14UwhHfG+GPJ2Z/uZQG1X/rXHc3wcCXJ9cmK11e0r9RiEyJT066vaV+ox4IKqNWOY2IPEFoDv6WQ2Db8otu3ePcOJzMDTVsCRU7Tt8TDAZy7QlYd9bMRFSoVmSSkKTRWYyO2KDal4Gm794kY6TMiC5xhMmad8MrMtCBemKS+QJHhEsoG0hpJUpN8l0uwpicWfqjA2dBmTipTOVFR4kue8xqOVGkBMCQjWAL3srxyfcBCyx2ZKNZWOz5xClYmOTaAhaEAsSAwFciS+zDGANMzgtctM7Wl84HSCQ4NA7GlSH21iNntXOKCiUJukgOw1aVqQ5xhZyinISpN0pLqBLF2rmRR8M45Nsvm9ofhs7PYpSUsiTKSNgQhvCMXyv5pM9KZctCDdvKKGAUSS1BRwBjvh8Jt2XeAvsoPkwJYlmqQ4pGK5R2lRtBOGqmm6rPvYiNMWbfKqE1RcGumgfhGo0HYBLlomICQqYgXncPgTrDeIxKbQW30hvYtLLugORdzfGOkkay5JFpvHEkijt31hRyxJ51JHrf0w20ZKVMWmaNYVLEse+kWabsrqvLSAN5Cj3QAZdAXMSE78TG8sUsIQlCQwSABwEYb7USwSLiaYYltp+EaGyaTXR2Pce6ADSyYptOmLOhXNrnISvNJNQ+DthAtm0onMEcK/vGP0oomdNVLlqJUtRvM1HoxVQUaEkM2itLWd255D7HrAsrSaDMWDNkBGrcImC8fzBQODGMRdYauqo4lSgpXvJoI7IuhQK03txLDrapgHZ9BRNSrorSr2VA+BgbSS2RCfRVklrWZt0IUou6AAwyABelIdaTSq4xmE0zlIeu8Y9kUKzG26zqvJKnZYdKgQdVyGKXeh4HcY8mznC8jEeluOTP1NDwSxNSlCw4lOElmJvVN5qYiCrNZpaeikdfnwjCTpnbijcbE9n0eSG1jV9VNO1TdrGGUjQa6FgN6lFWG5IENpdobPupBUu0DZXu7H+MYuUjpUY/YtkaEbFbD1EpT2lr3fBqNDSxUoKt6nV4xeLQBs4iLPtI64h2aLavCyVLSBRn2DDr/xE02gDHVyrQHrwiKJ2/tiwF88fOeMS4MreuiudpC6Sm6O3wpAk4C0IVKmrVdVQpuDqZVS4xBpF9qsAUHRRWx6EfAwumS1IotKgO7tqIh7os3jskqMNyh5OTbKp1a0slhMApXBKx6CuNC1DEeSclS7XJSlJJJWWG6UusfQRPVdIAvIZikgrSQciDl2RDk/oyVKtN+zoN1fTS7qlsldEA4yydjkUejN6GHV7uJdnkanQvH+0OV/g0U8pvq1gNZWY/McornWwJDJTU4lWJ6shuiueVFa21dZVaP0jFXMbTG5yHVSiqpL+cokuRRhErMq7TugwMYBAkmSRjFk6xJzrBKUxKXshMARNiS1B2xi+Wi+YnyboT0Jj09ZNBwAEb2euo81jE/6hyHTKXmFqR2pB7NWM5KxiuzWlU9bqOqNgYPBVsl72hbo+eJaYharWqY2zZCSS6AjeYsDR++KbakKJcRZLIglVmUqoSSNrfGE1zYDSVpGXcN4q3gDujI6Xmhc5SgCAWAfYABDv7EWYlI4l+5IMVHRSH1lKPAAeJPhGePEoO0NiAExZJSSamH8uxSk4If2lE9wYQQhRHRCU+ykDwEb2KgLREyYkukLA2i8Bx2RbaxMmKUHNCxvKJxD4B3oYtn2jasA5El26oo+3oAAdSmo7M+0nDHcILCiqVooDpL6gG7z8ouOqwSDxL/BoGXpAnBI6z/iBJlrUcT2QDoYqmKzUw7IAtNoT+YHvgOYp8YpIhgXLtAyB8IiFkxW0dCm4QCNLoHSslICJkwIUBiuiVbCFZUyMaC22hBS4XLO/nERgdJaOAKWWFukF0FwHAN07w7GmO2KEWJUslwkXkkEKSlWqrMYsd+Ih3Qqs0qbakOUrSz4pOLBmcbI6rSAGOO7OM3LSEpCQ9I8l8qxlJW7OqEnGNGkOkz1ba+OUTRpLf1eaRmQSDjXjFibRt+X+YW0r5DUo0hxHXBkm3HaBw/aMgm1HqgmTbIW0e+zYS7VBkq0Rk7NbHIAqTgBU9Qxh4bLOSkKUESk/mnrEsD+VitXAJ7IFBt0geRLtjlE4nCsA6VtxcJv44pBAL5PmcYz1s0/Zk9KbOtGV2SOZln+dTrVxhVN5YTki7Zpcqyp2y03lkb5sx1djRa00n3wR+Wou0jfSLRMQi9MNyXkuddQG3FXS6ngWz8pLJz8sBZmzCVfwUC70FEutTA4ZAx8ym89PVeWVzFH0lqJzGZy1h2wdoSzlFrkAkEkKNMtSYG/498aLT44r7MpanJJ9n1+d01e0r9RiBEctCtdXtK/UYiFQzM4cYtlzIitLiKgWpAIP51uESTMD0gSVMyMTFDAOi5RxjOcrbLzkgazNMBcgnI5CH85dGHl4ScqJoRZyouwWkUD4lvExDAxos0oEJVMUVHBIupdtjlRPZBcuzIFbr+0SfkO6BDakkhQli8HYqZw+Iimbbl5MOp/GChjdMwjosn2QB3isVTZoHSUBxMJzPUekonu7hEA0Axou2I2k8AYpVbtie0/AQEFxwqgAKXa1bhwEDzJpOJJ4mKlKiJVCCiy80VqXHL0RJhgdUqKiY6TEDAI4qKzEyYrMAHhHTWIvHQYYFyphJJepxidmS7uW8IoSYulLAFX8+ES+iodl6kNQjt8Q0RMnZHFWmjMGxqfDZFZnDLsiKN7R24N3VHbpwx2BniN98T54RfYLcZb0cHYz4ZE7o0xw3OjOc9qsKkaHmKF5bSk/mmKam0JxPYIvH2OVVRmWlX5UfhI6zVR6oEnSzMdSVGYRik9Ify59UL1Z9fdHT8MI9nO8kpdDefyqnAXZCZVmT/4ksrrmHWPbGfnzlLJUtSlk5qJJPEmLylvOwfvAsUn4iGvs9FlmLKdnYGnUQ/U7xXE5SHJ4fEd0DBDWzTBepQuOPTkZcEGJ6ML2yR7HjKmH4wApYDPUvUCp6Ss8BgM6gwXoJB+1yrwIxxrTmVN1fAiI6Ks+yT9GTL6jqdJWZ2n1YgNGTPU7T9Mej0ZFWWo0bM9TtP0x1eiln8nafpjsegCyn/pkz1O0/TF40bM2o7T9Mej0AWeXoxYpq9p+mEvKLQ01VmmJdD3XqpWN4N6Mdj0S0FmHPJ+ftle8r6IieTs/bK95X0R2PQ6HZwcnJ+2V7yvojv3cn7ZXvK+iPR6ChnPu1P2yveV9EdPJuftle8r6I9HogEyJ5NT9sr3lfRHPuzP2yvfV9Eej0BVnvu1P2yveV9ER+7M/bK99f0R6PQxNkTyYn7ZXvr/ALcQ+7E/bK99f9uPR6GkFnDyZn7ZXvq+iIfdeftle8r+3Ho9DoTOfdeftle8r+3HvuvP2yvfX9Eej0FE2d+7E/bK99X0R08l7RUvK95f0RyPQUNM6eTE/bKb2lf24irktP2yveV9Eej0KirZz7rTznK95X0RNHJi0bZXvKrxFyOR6NMbqXBMuUW/dufQgynFekqmwg3KcINlaEmTABP5sk0E1BIVX8wKGX3GPR6OhybdGdUVaU5G2iWsoKpJxLhSxQgN6FDuhcOSs/bK95X0R6PRlbTKqySOSk8nGV7y/ojU8mv9LlWlKlmcEhCkhSfzJxWym1SwLEhWNRHY9GcpsKR9BsnIGwIlgfZUKYjWUpV+j1K9u5mjJ8p9ArnaWRORcAKauSCSmUpLkBJD4dmUej0RED//2Q==">
            <a:extLst>
              <a:ext uri="{FF2B5EF4-FFF2-40B4-BE49-F238E27FC236}">
                <a16:creationId xmlns:a16="http://schemas.microsoft.com/office/drawing/2014/main" id="{C775B97C-4F29-463D-86ED-AA3317958011}"/>
              </a:ext>
            </a:extLst>
          </p:cNvPr>
          <p:cNvSpPr>
            <a:spLocks noChangeAspect="1" noChangeArrowheads="1"/>
          </p:cNvSpPr>
          <p:nvPr/>
        </p:nvSpPr>
        <p:spPr bwMode="auto">
          <a:xfrm>
            <a:off x="2305783" y="-695691"/>
            <a:ext cx="2637692" cy="1450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GB" altLang="en-US" sz="1246"/>
          </a:p>
        </p:txBody>
      </p:sp>
      <p:grpSp>
        <p:nvGrpSpPr>
          <p:cNvPr id="20490" name="Group 1">
            <a:extLst>
              <a:ext uri="{FF2B5EF4-FFF2-40B4-BE49-F238E27FC236}">
                <a16:creationId xmlns:a16="http://schemas.microsoft.com/office/drawing/2014/main" id="{484E0287-5602-4883-B48E-40D5462B9DBD}"/>
              </a:ext>
            </a:extLst>
          </p:cNvPr>
          <p:cNvGrpSpPr>
            <a:grpSpLocks/>
          </p:cNvGrpSpPr>
          <p:nvPr/>
        </p:nvGrpSpPr>
        <p:grpSpPr bwMode="auto">
          <a:xfrm>
            <a:off x="92774" y="112102"/>
            <a:ext cx="9155876" cy="6541926"/>
            <a:chOff x="-3015758" y="161374"/>
            <a:chExt cx="13223660" cy="9450004"/>
          </a:xfrm>
        </p:grpSpPr>
        <p:sp>
          <p:nvSpPr>
            <p:cNvPr id="28" name="Text Placeholder 2">
              <a:extLst>
                <a:ext uri="{FF2B5EF4-FFF2-40B4-BE49-F238E27FC236}">
                  <a16:creationId xmlns:a16="http://schemas.microsoft.com/office/drawing/2014/main" id="{ECC027F0-8827-4F6A-A0BB-282249B54C43}"/>
                </a:ext>
              </a:extLst>
            </p:cNvPr>
            <p:cNvSpPr txBox="1">
              <a:spLocks/>
            </p:cNvSpPr>
            <p:nvPr>
              <p:custDataLst>
                <p:tags r:id="rId7"/>
              </p:custDataLst>
            </p:nvPr>
          </p:nvSpPr>
          <p:spPr>
            <a:xfrm rot="16200000">
              <a:off x="-3240447" y="2468707"/>
              <a:ext cx="2568725" cy="342861"/>
            </a:xfrm>
            <a:prstGeom prst="rect">
              <a:avLst/>
            </a:prstGeom>
            <a:solidFill>
              <a:srgbClr val="007E01"/>
            </a:solidFill>
            <a:ln>
              <a:solidFill>
                <a:srgbClr val="008000"/>
              </a:solidFill>
            </a:ln>
          </p:spPr>
          <p:txBody>
            <a:bodyPr lIns="25322" tIns="12661" rIns="25322" bIns="12661" anchor="ctr"/>
            <a:lstStyle>
              <a:lvl1pPr marL="342900" indent="-342900"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ct val="120000"/>
                </a:lnSpc>
                <a:buFont typeface="Arial" panose="020B0604020202020204" pitchFamily="34" charset="0"/>
                <a:buNone/>
                <a:defRPr/>
              </a:pPr>
              <a:r>
                <a:rPr lang="ru-RU" sz="831" b="1" dirty="0">
                  <a:solidFill>
                    <a:schemeClr val="bg1"/>
                  </a:solidFill>
                  <a:effectLst>
                    <a:outerShdw blurRad="38100" dist="38100" dir="2700000" algn="tl">
                      <a:srgbClr val="000000"/>
                    </a:outerShdw>
                  </a:effectLst>
                  <a:latin typeface="Helvetica Neue" charset="0"/>
                </a:rPr>
                <a:t>РЫНОК</a:t>
              </a:r>
              <a:endParaRPr lang="en-GB" sz="831" b="1" dirty="0">
                <a:solidFill>
                  <a:schemeClr val="bg1"/>
                </a:solidFill>
                <a:effectLst>
                  <a:outerShdw blurRad="38100" dist="38100" dir="2700000" algn="tl">
                    <a:srgbClr val="000000"/>
                  </a:outerShdw>
                </a:effectLst>
                <a:latin typeface="Helvetica Neue" charset="0"/>
              </a:endParaRPr>
            </a:p>
          </p:txBody>
        </p:sp>
        <p:sp>
          <p:nvSpPr>
            <p:cNvPr id="1036" name="TextBox 29">
              <a:extLst>
                <a:ext uri="{FF2B5EF4-FFF2-40B4-BE49-F238E27FC236}">
                  <a16:creationId xmlns:a16="http://schemas.microsoft.com/office/drawing/2014/main" id="{1AC5AC88-B44D-4FA7-A418-BFA3143E9038}"/>
                </a:ext>
              </a:extLst>
            </p:cNvPr>
            <p:cNvSpPr txBox="1">
              <a:spLocks noChangeArrowheads="1"/>
            </p:cNvSpPr>
            <p:nvPr>
              <p:custDataLst>
                <p:tags r:id="rId8"/>
              </p:custDataLst>
            </p:nvPr>
          </p:nvSpPr>
          <p:spPr bwMode="auto">
            <a:xfrm>
              <a:off x="442887" y="6572076"/>
              <a:ext cx="5982083" cy="2086150"/>
            </a:xfrm>
            <a:prstGeom prst="rect">
              <a:avLst/>
            </a:prstGeom>
            <a:noFill/>
            <a:ln w="9525">
              <a:noFill/>
              <a:miter lim="800000"/>
              <a:headEnd/>
              <a:tailEnd/>
            </a:ln>
          </p:spPr>
          <p:txBody>
            <a:bodyPr lIns="0" rIns="0" anchor="ctr"/>
            <a:lstStyle/>
            <a:p>
              <a:pPr marL="118695" indent="-118695">
                <a:spcAft>
                  <a:spcPts val="277"/>
                </a:spcAft>
                <a:buFont typeface="Wingdings" pitchFamily="2" charset="2"/>
                <a:buChar char="Ø"/>
                <a:defRPr/>
              </a:pPr>
              <a:endParaRPr lang="en-US" altLang="en-US" sz="1108" dirty="0"/>
            </a:p>
          </p:txBody>
        </p:sp>
        <p:sp>
          <p:nvSpPr>
            <p:cNvPr id="31" name="Text Placeholder 2">
              <a:extLst>
                <a:ext uri="{FF2B5EF4-FFF2-40B4-BE49-F238E27FC236}">
                  <a16:creationId xmlns:a16="http://schemas.microsoft.com/office/drawing/2014/main" id="{9A2DD88D-BC74-4476-89D2-BB9B8B82E25C}"/>
                </a:ext>
              </a:extLst>
            </p:cNvPr>
            <p:cNvSpPr txBox="1">
              <a:spLocks/>
            </p:cNvSpPr>
            <p:nvPr>
              <p:custDataLst>
                <p:tags r:id="rId9"/>
              </p:custDataLst>
            </p:nvPr>
          </p:nvSpPr>
          <p:spPr>
            <a:xfrm rot="16200000">
              <a:off x="-2970893" y="7153694"/>
              <a:ext cx="2194054" cy="330163"/>
            </a:xfrm>
            <a:prstGeom prst="rect">
              <a:avLst/>
            </a:prstGeom>
            <a:solidFill>
              <a:srgbClr val="3366FF"/>
            </a:solidFill>
            <a:ln>
              <a:solidFill>
                <a:srgbClr val="3366FF"/>
              </a:solidFill>
            </a:ln>
          </p:spPr>
          <p:txBody>
            <a:bodyPr lIns="0" tIns="0" rIns="0" bIns="0"/>
            <a:lstStyle>
              <a:lvl1pPr marL="342900" indent="-342900"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ts val="831"/>
                </a:lnSpc>
                <a:defRPr/>
              </a:pPr>
              <a:r>
                <a:rPr lang="ru-RU" sz="831" b="1" dirty="0">
                  <a:solidFill>
                    <a:schemeClr val="bg1"/>
                  </a:solidFill>
                  <a:effectLst>
                    <a:outerShdw blurRad="38100" dist="38100" dir="2700000" algn="tl">
                      <a:srgbClr val="000000"/>
                    </a:outerShdw>
                  </a:effectLst>
                  <a:latin typeface="Helvetica Neue" charset="0"/>
                </a:rPr>
                <a:t>         ИНВЕСТИЦИОННЫЕ ВОЗМОЖНОСТИ</a:t>
              </a:r>
              <a:endParaRPr lang="en-GB" sz="831" b="1" dirty="0">
                <a:solidFill>
                  <a:schemeClr val="bg1"/>
                </a:solidFill>
                <a:effectLst>
                  <a:outerShdw blurRad="38100" dist="38100" dir="2700000" algn="tl">
                    <a:srgbClr val="000000"/>
                  </a:outerShdw>
                </a:effectLst>
                <a:latin typeface="Helvetica Neue" charset="0"/>
              </a:endParaRPr>
            </a:p>
          </p:txBody>
        </p:sp>
        <p:sp>
          <p:nvSpPr>
            <p:cNvPr id="1038" name="TextBox 32">
              <a:extLst>
                <a:ext uri="{FF2B5EF4-FFF2-40B4-BE49-F238E27FC236}">
                  <a16:creationId xmlns:a16="http://schemas.microsoft.com/office/drawing/2014/main" id="{4D1B46FC-5307-42F2-9443-2EFD4B133E0D}"/>
                </a:ext>
              </a:extLst>
            </p:cNvPr>
            <p:cNvSpPr txBox="1">
              <a:spLocks noChangeArrowheads="1"/>
            </p:cNvSpPr>
            <p:nvPr/>
          </p:nvSpPr>
          <p:spPr bwMode="auto">
            <a:xfrm>
              <a:off x="-1531740" y="1234513"/>
              <a:ext cx="8501689" cy="2725444"/>
            </a:xfrm>
            <a:prstGeom prst="rect">
              <a:avLst/>
            </a:prstGeom>
            <a:noFill/>
            <a:ln w="9525">
              <a:noFill/>
              <a:miter lim="800000"/>
              <a:headEnd/>
              <a:tailEnd/>
            </a:ln>
          </p:spPr>
          <p:txBody>
            <a:bodyPr wrap="square">
              <a:spAutoFit/>
            </a:bodyPr>
            <a:lstStyle/>
            <a:p>
              <a:pPr marL="118695" lvl="1" indent="-118695" algn="just">
                <a:spcAft>
                  <a:spcPts val="415"/>
                </a:spcAft>
                <a:buFont typeface="Arial" pitchFamily="34" charset="0"/>
                <a:buChar char="•"/>
                <a:defRPr/>
              </a:pPr>
              <a:r>
                <a:rPr lang="ru-RU" altLang="en-US" sz="1200" dirty="0">
                  <a:latin typeface="Bookman Old Style" pitchFamily="18" charset="0"/>
                </a:rPr>
                <a:t>Вклад в ВВП – </a:t>
              </a:r>
              <a:r>
                <a:rPr lang="en-US" altLang="en-US" sz="1200" dirty="0">
                  <a:latin typeface="Bookman Old Style" pitchFamily="18" charset="0"/>
                </a:rPr>
                <a:t>10%</a:t>
              </a:r>
              <a:r>
                <a:rPr lang="ru-RU" altLang="en-US" sz="1200" dirty="0">
                  <a:latin typeface="Bookman Old Style" pitchFamily="18" charset="0"/>
                </a:rPr>
                <a:t>, в с/х ВВП – </a:t>
              </a:r>
              <a:r>
                <a:rPr lang="en-US" altLang="en-US" sz="1200" dirty="0">
                  <a:latin typeface="Bookman Old Style" pitchFamily="18" charset="0"/>
                </a:rPr>
                <a:t>3%</a:t>
              </a:r>
              <a:r>
                <a:rPr lang="ru-RU" altLang="en-US" sz="1200" dirty="0">
                  <a:latin typeface="Bookman Old Style" pitchFamily="18" charset="0"/>
                </a:rPr>
                <a:t>, </a:t>
              </a:r>
              <a:r>
                <a:rPr lang="en-US" altLang="en-US" sz="1200" dirty="0">
                  <a:latin typeface="Bookman Old Style" pitchFamily="18" charset="0"/>
                </a:rPr>
                <a:t>65% </a:t>
              </a:r>
              <a:r>
                <a:rPr lang="ru-RU" altLang="en-US" sz="1200" dirty="0">
                  <a:latin typeface="Bookman Old Style" pitchFamily="18" charset="0"/>
                </a:rPr>
                <a:t>семей занимаются тем или иным видом животноводства</a:t>
              </a:r>
              <a:endParaRPr lang="en-US" sz="1200" dirty="0">
                <a:latin typeface="Bookman Old Style" pitchFamily="18" charset="0"/>
              </a:endParaRPr>
            </a:p>
            <a:p>
              <a:pPr marL="118695" indent="-118695" algn="just">
                <a:spcAft>
                  <a:spcPts val="415"/>
                </a:spcAft>
                <a:buFont typeface="Arial" pitchFamily="34" charset="0"/>
                <a:buChar char="•"/>
                <a:defRPr/>
              </a:pPr>
              <a:r>
                <a:rPr lang="ru-RU" altLang="en-US" sz="1200" dirty="0">
                  <a:latin typeface="Bookman Old Style" pitchFamily="18" charset="0"/>
                </a:rPr>
                <a:t>Потребление свинины на душу населения – около </a:t>
              </a:r>
              <a:r>
                <a:rPr lang="en-US" altLang="en-US" sz="1200" dirty="0">
                  <a:latin typeface="Bookman Old Style" pitchFamily="18" charset="0"/>
                </a:rPr>
                <a:t>80 </a:t>
              </a:r>
              <a:r>
                <a:rPr lang="ru-RU" altLang="en-US" sz="1200" dirty="0">
                  <a:latin typeface="Bookman Old Style" pitchFamily="18" charset="0"/>
                </a:rPr>
                <a:t>кг/год в мире, в Африке – не более </a:t>
              </a:r>
              <a:r>
                <a:rPr lang="en-US" altLang="en-US" sz="1200" dirty="0">
                  <a:latin typeface="Bookman Old Style" pitchFamily="18" charset="0"/>
                </a:rPr>
                <a:t>32</a:t>
              </a:r>
              <a:r>
                <a:rPr lang="ru-RU" altLang="en-US" sz="1200" dirty="0">
                  <a:latin typeface="Bookman Old Style" pitchFamily="18" charset="0"/>
                </a:rPr>
                <a:t> кг</a:t>
              </a:r>
              <a:r>
                <a:rPr lang="en-US" altLang="en-US" sz="1200" dirty="0">
                  <a:latin typeface="Bookman Old Style" pitchFamily="18" charset="0"/>
                </a:rPr>
                <a:t>. </a:t>
              </a:r>
              <a:r>
                <a:rPr lang="ru-RU" altLang="en-US" sz="1200" dirty="0">
                  <a:latin typeface="Bookman Old Style" pitchFamily="18" charset="0"/>
                </a:rPr>
                <a:t>Потребление мяса в Руанде: </a:t>
              </a:r>
              <a:r>
                <a:rPr lang="en-US" altLang="en-US" sz="1200" dirty="0">
                  <a:latin typeface="Bookman Old Style" pitchFamily="18" charset="0"/>
                </a:rPr>
                <a:t>7</a:t>
              </a:r>
              <a:r>
                <a:rPr lang="ru-RU" altLang="en-US" sz="1200" dirty="0">
                  <a:latin typeface="Bookman Old Style" pitchFamily="18" charset="0"/>
                </a:rPr>
                <a:t>,</a:t>
              </a:r>
              <a:r>
                <a:rPr lang="en-US" altLang="en-US" sz="1200" dirty="0">
                  <a:latin typeface="Bookman Old Style" pitchFamily="18" charset="0"/>
                </a:rPr>
                <a:t>9 </a:t>
              </a:r>
              <a:r>
                <a:rPr lang="ru-RU" altLang="en-US" sz="1200" dirty="0">
                  <a:latin typeface="Bookman Old Style" pitchFamily="18" charset="0"/>
                </a:rPr>
                <a:t>кг</a:t>
              </a:r>
              <a:r>
                <a:rPr lang="en-US" altLang="en-US" sz="1200" dirty="0">
                  <a:latin typeface="Bookman Old Style" pitchFamily="18" charset="0"/>
                </a:rPr>
                <a:t>/</a:t>
              </a:r>
              <a:r>
                <a:rPr lang="ru-RU" altLang="en-US" sz="1200" dirty="0">
                  <a:latin typeface="Bookman Old Style" pitchFamily="18" charset="0"/>
                </a:rPr>
                <a:t>год </a:t>
              </a:r>
              <a:r>
                <a:rPr lang="en-US" altLang="en-US" sz="1200" dirty="0">
                  <a:latin typeface="Bookman Old Style" pitchFamily="18" charset="0"/>
                </a:rPr>
                <a:t>(2014)</a:t>
              </a:r>
              <a:r>
                <a:rPr lang="ru-RU" altLang="en-US" sz="1200" dirty="0">
                  <a:latin typeface="Bookman Old Style" pitchFamily="18" charset="0"/>
                </a:rPr>
                <a:t> (увеличение с </a:t>
              </a:r>
              <a:r>
                <a:rPr lang="en-US" altLang="en-US" sz="1200" dirty="0">
                  <a:latin typeface="Bookman Old Style" pitchFamily="18" charset="0"/>
                </a:rPr>
                <a:t>5</a:t>
              </a:r>
              <a:r>
                <a:rPr lang="ru-RU" altLang="en-US" sz="1200" dirty="0">
                  <a:latin typeface="Bookman Old Style" pitchFamily="18" charset="0"/>
                </a:rPr>
                <a:t>,</a:t>
              </a:r>
              <a:r>
                <a:rPr lang="en-US" altLang="en-US" sz="1200" dirty="0">
                  <a:latin typeface="Bookman Old Style" pitchFamily="18" charset="0"/>
                </a:rPr>
                <a:t>6 </a:t>
              </a:r>
              <a:r>
                <a:rPr lang="ru-RU" altLang="en-US" sz="1200" dirty="0">
                  <a:latin typeface="Bookman Old Style" pitchFamily="18" charset="0"/>
                </a:rPr>
                <a:t>кг/год в</a:t>
              </a:r>
              <a:r>
                <a:rPr lang="en-US" altLang="en-US" sz="1200" dirty="0">
                  <a:latin typeface="Bookman Old Style" pitchFamily="18" charset="0"/>
                </a:rPr>
                <a:t> 2006</a:t>
              </a:r>
              <a:r>
                <a:rPr lang="ru-RU" altLang="en-US" sz="1200" dirty="0">
                  <a:latin typeface="Bookman Old Style" pitchFamily="18" charset="0"/>
                </a:rPr>
                <a:t>г)</a:t>
              </a:r>
              <a:r>
                <a:rPr lang="en-US" altLang="en-US" sz="1200" dirty="0">
                  <a:latin typeface="Bookman Old Style" pitchFamily="18" charset="0"/>
                </a:rPr>
                <a:t>.</a:t>
              </a:r>
            </a:p>
            <a:p>
              <a:pPr marL="118695" indent="-118695" algn="just">
                <a:spcAft>
                  <a:spcPts val="415"/>
                </a:spcAft>
                <a:buFont typeface="Arial" pitchFamily="34" charset="0"/>
                <a:buChar char="•"/>
                <a:defRPr/>
              </a:pPr>
              <a:r>
                <a:rPr lang="ru-RU" altLang="en-US" sz="1200" dirty="0">
                  <a:latin typeface="Bookman Old Style" pitchFamily="18" charset="0"/>
                </a:rPr>
                <a:t>В Руанде число семей, выращивающих свиней, составляет </a:t>
              </a:r>
              <a:r>
                <a:rPr lang="en-US" altLang="en-US" sz="1200" dirty="0">
                  <a:latin typeface="Bookman Old Style" pitchFamily="18" charset="0"/>
                </a:rPr>
                <a:t>31</a:t>
              </a:r>
              <a:r>
                <a:rPr lang="ru-RU" altLang="en-US" sz="1200" dirty="0">
                  <a:latin typeface="Bookman Old Style" pitchFamily="18" charset="0"/>
                </a:rPr>
                <a:t>,</a:t>
              </a:r>
              <a:r>
                <a:rPr lang="en-US" altLang="en-US" sz="1200" dirty="0">
                  <a:latin typeface="Bookman Old Style" pitchFamily="18" charset="0"/>
                </a:rPr>
                <a:t>9%. </a:t>
              </a:r>
            </a:p>
            <a:p>
              <a:pPr marL="118695" indent="-118695" algn="just">
                <a:spcAft>
                  <a:spcPts val="415"/>
                </a:spcAft>
                <a:buFont typeface="Arial" pitchFamily="34" charset="0"/>
                <a:buChar char="•"/>
                <a:defRPr/>
              </a:pPr>
              <a:r>
                <a:rPr lang="ru-RU" altLang="en-US" sz="1200" dirty="0">
                  <a:latin typeface="Bookman Old Style" pitchFamily="18" charset="0"/>
                </a:rPr>
                <a:t>Производство свинины в Руанде более чем удвоилось за последние </a:t>
              </a:r>
              <a:r>
                <a:rPr lang="en-US" altLang="en-US" sz="1200" dirty="0">
                  <a:latin typeface="Bookman Old Style" pitchFamily="18" charset="0"/>
                </a:rPr>
                <a:t>10</a:t>
              </a:r>
              <a:r>
                <a:rPr lang="ru-RU" altLang="en-US" sz="1200" dirty="0">
                  <a:latin typeface="Bookman Old Style" pitchFamily="18" charset="0"/>
                </a:rPr>
                <a:t> лет (с</a:t>
              </a:r>
              <a:r>
                <a:rPr lang="en-US" altLang="en-US" sz="1200" dirty="0">
                  <a:latin typeface="Bookman Old Style" pitchFamily="18" charset="0"/>
                </a:rPr>
                <a:t> 3,585MT </a:t>
              </a:r>
              <a:r>
                <a:rPr lang="ru-RU" altLang="en-US" sz="1200" dirty="0">
                  <a:latin typeface="Bookman Old Style" pitchFamily="18" charset="0"/>
                </a:rPr>
                <a:t>в</a:t>
              </a:r>
              <a:r>
                <a:rPr lang="en-US" altLang="en-US" sz="1200" dirty="0">
                  <a:latin typeface="Bookman Old Style" pitchFamily="18" charset="0"/>
                </a:rPr>
                <a:t> 2005 </a:t>
              </a:r>
              <a:r>
                <a:rPr lang="ru-RU" altLang="en-US" sz="1200" dirty="0">
                  <a:latin typeface="Bookman Old Style" pitchFamily="18" charset="0"/>
                </a:rPr>
                <a:t>до </a:t>
              </a:r>
              <a:r>
                <a:rPr lang="en-US" altLang="en-US" sz="1200" dirty="0">
                  <a:latin typeface="Bookman Old Style" pitchFamily="18" charset="0"/>
                </a:rPr>
                <a:t>10,210MT </a:t>
              </a:r>
              <a:r>
                <a:rPr lang="ru-RU" altLang="en-US" sz="1200" dirty="0">
                  <a:latin typeface="Bookman Old Style" pitchFamily="18" charset="0"/>
                </a:rPr>
                <a:t>в </a:t>
              </a:r>
              <a:r>
                <a:rPr lang="en-US" altLang="en-US" sz="1200" dirty="0">
                  <a:latin typeface="Bookman Old Style" pitchFamily="18" charset="0"/>
                </a:rPr>
                <a:t>2014</a:t>
              </a:r>
              <a:r>
                <a:rPr lang="ru-RU" altLang="en-US" sz="1200" dirty="0">
                  <a:latin typeface="Bookman Old Style" pitchFamily="18" charset="0"/>
                </a:rPr>
                <a:t>)</a:t>
              </a:r>
              <a:r>
                <a:rPr lang="en-US" altLang="en-US" sz="1200" dirty="0">
                  <a:latin typeface="Bookman Old Style" pitchFamily="18" charset="0"/>
                </a:rPr>
                <a:t>.</a:t>
              </a:r>
            </a:p>
            <a:p>
              <a:pPr algn="just">
                <a:spcAft>
                  <a:spcPts val="277"/>
                </a:spcAft>
                <a:defRPr/>
              </a:pPr>
              <a:endParaRPr lang="en-US" altLang="en-US" sz="727" dirty="0">
                <a:latin typeface="Bookman Old Style" pitchFamily="18" charset="0"/>
              </a:endParaRPr>
            </a:p>
          </p:txBody>
        </p:sp>
        <p:sp>
          <p:nvSpPr>
            <p:cNvPr id="20496" name="TextBox 33">
              <a:extLst>
                <a:ext uri="{FF2B5EF4-FFF2-40B4-BE49-F238E27FC236}">
                  <a16:creationId xmlns:a16="http://schemas.microsoft.com/office/drawing/2014/main" id="{EE03BC5B-E27D-4111-ADBA-6AF23183642D}"/>
                </a:ext>
              </a:extLst>
            </p:cNvPr>
            <p:cNvSpPr txBox="1">
              <a:spLocks noChangeArrowheads="1"/>
            </p:cNvSpPr>
            <p:nvPr/>
          </p:nvSpPr>
          <p:spPr bwMode="auto">
            <a:xfrm>
              <a:off x="-1344967" y="4298642"/>
              <a:ext cx="8185284" cy="1348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spcAft>
                  <a:spcPts val="415"/>
                </a:spcAft>
                <a:buFont typeface="Wingdings" panose="05000000000000000000" pitchFamily="2" charset="2"/>
                <a:buChar char="§"/>
              </a:pPr>
              <a:r>
                <a:rPr lang="ru-RU" altLang="ru-RU" sz="1200" dirty="0">
                  <a:latin typeface="Bookman Old Style" panose="02050604050505020204" pitchFamily="18" charset="0"/>
                </a:rPr>
                <a:t>Поголовье свиней: </a:t>
              </a:r>
              <a:r>
                <a:rPr lang="en-US" altLang="ru-RU" sz="1200" dirty="0">
                  <a:latin typeface="Bookman Old Style" panose="02050604050505020204" pitchFamily="18" charset="0"/>
                </a:rPr>
                <a:t>1</a:t>
              </a:r>
              <a:r>
                <a:rPr lang="ru-RU" altLang="ru-RU" sz="1200" dirty="0">
                  <a:latin typeface="Bookman Old Style" panose="02050604050505020204" pitchFamily="18" charset="0"/>
                </a:rPr>
                <a:t> </a:t>
              </a:r>
              <a:r>
                <a:rPr lang="en-US" altLang="ru-RU" sz="1200" dirty="0">
                  <a:latin typeface="Bookman Old Style" panose="02050604050505020204" pitchFamily="18" charset="0"/>
                </a:rPr>
                <a:t>014</a:t>
              </a:r>
              <a:r>
                <a:rPr lang="ru-RU" altLang="ru-RU" sz="1200" dirty="0">
                  <a:latin typeface="Bookman Old Style" panose="02050604050505020204" pitchFamily="18" charset="0"/>
                </a:rPr>
                <a:t> </a:t>
              </a:r>
              <a:r>
                <a:rPr lang="en-US" altLang="ru-RU" sz="1200" dirty="0">
                  <a:latin typeface="Bookman Old Style" panose="02050604050505020204" pitchFamily="18" charset="0"/>
                </a:rPr>
                <a:t>629 </a:t>
              </a:r>
              <a:r>
                <a:rPr lang="ru-RU" altLang="ru-RU" sz="1200" dirty="0">
                  <a:latin typeface="Bookman Old Style" panose="02050604050505020204" pitchFamily="18" charset="0"/>
                </a:rPr>
                <a:t>в </a:t>
              </a:r>
              <a:r>
                <a:rPr lang="en-US" altLang="ru-RU" sz="1200" dirty="0">
                  <a:latin typeface="Bookman Old Style" panose="02050604050505020204" pitchFamily="18" charset="0"/>
                </a:rPr>
                <a:t>2014</a:t>
              </a:r>
              <a:r>
                <a:rPr lang="ru-RU" altLang="ru-RU" sz="1200" dirty="0">
                  <a:latin typeface="Bookman Old Style" panose="02050604050505020204" pitchFamily="18" charset="0"/>
                </a:rPr>
                <a:t>г</a:t>
              </a:r>
              <a:r>
                <a:rPr lang="en-US" altLang="ru-RU" sz="1200" dirty="0">
                  <a:latin typeface="Bookman Old Style" panose="02050604050505020204" pitchFamily="18" charset="0"/>
                </a:rPr>
                <a:t>  </a:t>
              </a:r>
              <a:r>
                <a:rPr lang="ru-RU" altLang="ru-RU" sz="1200" dirty="0">
                  <a:latin typeface="Bookman Old Style" panose="02050604050505020204" pitchFamily="18" charset="0"/>
                </a:rPr>
                <a:t>(</a:t>
              </a:r>
              <a:r>
                <a:rPr lang="en-US" altLang="ru-RU" sz="1200" dirty="0">
                  <a:latin typeface="Bookman Old Style" panose="02050604050505020204" pitchFamily="18" charset="0"/>
                </a:rPr>
                <a:t>326</a:t>
              </a:r>
              <a:r>
                <a:rPr lang="ru-RU" altLang="ru-RU" sz="1200" dirty="0">
                  <a:latin typeface="Bookman Old Style" panose="02050604050505020204" pitchFamily="18" charset="0"/>
                </a:rPr>
                <a:t> </a:t>
              </a:r>
              <a:r>
                <a:rPr lang="en-US" altLang="ru-RU" sz="1200" dirty="0">
                  <a:latin typeface="Bookman Old Style" panose="02050604050505020204" pitchFamily="18" charset="0"/>
                </a:rPr>
                <a:t>652 </a:t>
              </a:r>
              <a:r>
                <a:rPr lang="ru-RU" altLang="ru-RU" sz="1200" dirty="0">
                  <a:latin typeface="Bookman Old Style" panose="02050604050505020204" pitchFamily="18" charset="0"/>
                </a:rPr>
                <a:t>в</a:t>
              </a:r>
              <a:r>
                <a:rPr lang="en-US" altLang="ru-RU" sz="1200" dirty="0">
                  <a:latin typeface="Bookman Old Style" panose="02050604050505020204" pitchFamily="18" charset="0"/>
                </a:rPr>
                <a:t> 2005</a:t>
              </a:r>
              <a:r>
                <a:rPr lang="ru-RU" altLang="ru-RU" sz="1200" dirty="0">
                  <a:latin typeface="Bookman Old Style" panose="02050604050505020204" pitchFamily="18" charset="0"/>
                </a:rPr>
                <a:t>)</a:t>
              </a:r>
              <a:endParaRPr lang="en-US" altLang="ru-RU" sz="1200" dirty="0">
                <a:latin typeface="Bookman Old Style" panose="02050604050505020204" pitchFamily="18" charset="0"/>
              </a:endParaRPr>
            </a:p>
            <a:p>
              <a:pPr>
                <a:spcAft>
                  <a:spcPts val="415"/>
                </a:spcAft>
                <a:buFont typeface="Wingdings" panose="05000000000000000000" pitchFamily="2" charset="2"/>
                <a:buChar char="§"/>
              </a:pPr>
              <a:r>
                <a:rPr lang="ru-RU" altLang="en-US" sz="1200" dirty="0">
                  <a:latin typeface="Bookman Old Style" panose="02050604050505020204" pitchFamily="18" charset="0"/>
                </a:rPr>
                <a:t>Стабильность и поддержка </a:t>
              </a:r>
              <a:r>
                <a:rPr lang="en-US" altLang="en-US" sz="1200" dirty="0">
                  <a:latin typeface="Bookman Old Style" panose="02050604050505020204" pitchFamily="18" charset="0"/>
                </a:rPr>
                <a:t> </a:t>
              </a:r>
              <a:r>
                <a:rPr lang="ru-RU" altLang="en-US" sz="1200" dirty="0">
                  <a:latin typeface="Bookman Old Style" panose="02050604050505020204" pitchFamily="18" charset="0"/>
                </a:rPr>
                <a:t>правительства</a:t>
              </a:r>
              <a:endParaRPr lang="en-US" altLang="en-US" sz="1200" dirty="0">
                <a:latin typeface="Bookman Old Style" panose="02050604050505020204" pitchFamily="18" charset="0"/>
              </a:endParaRPr>
            </a:p>
            <a:p>
              <a:pPr>
                <a:spcAft>
                  <a:spcPts val="415"/>
                </a:spcAft>
                <a:buFont typeface="Wingdings" panose="05000000000000000000" pitchFamily="2" charset="2"/>
                <a:buChar char="§"/>
              </a:pPr>
              <a:r>
                <a:rPr lang="ru-RU" altLang="en-US" sz="1200" dirty="0">
                  <a:latin typeface="Bookman Old Style" panose="02050604050505020204" pitchFamily="18" charset="0"/>
                </a:rPr>
                <a:t>Новая земельная политика, направленная на сохранность фермерских земель</a:t>
              </a:r>
              <a:endParaRPr lang="en-US" altLang="en-US" sz="1200" dirty="0">
                <a:latin typeface="Bookman Old Style" panose="02050604050505020204" pitchFamily="18" charset="0"/>
              </a:endParaRPr>
            </a:p>
          </p:txBody>
        </p:sp>
        <p:sp>
          <p:nvSpPr>
            <p:cNvPr id="41" name="TextBox 40">
              <a:extLst>
                <a:ext uri="{FF2B5EF4-FFF2-40B4-BE49-F238E27FC236}">
                  <a16:creationId xmlns:a16="http://schemas.microsoft.com/office/drawing/2014/main" id="{33E6782D-B7A5-4EDB-8C1B-03D7E048BAFC}"/>
                </a:ext>
              </a:extLst>
            </p:cNvPr>
            <p:cNvSpPr txBox="1"/>
            <p:nvPr>
              <p:custDataLst>
                <p:tags r:id="rId10"/>
              </p:custDataLst>
            </p:nvPr>
          </p:nvSpPr>
          <p:spPr>
            <a:xfrm>
              <a:off x="-2087833" y="161374"/>
              <a:ext cx="10400123" cy="810733"/>
            </a:xfrm>
            <a:prstGeom prst="rect">
              <a:avLst/>
            </a:prstGeom>
            <a:solidFill>
              <a:schemeClr val="accent3"/>
            </a:solidFill>
            <a:ln>
              <a:solidFill>
                <a:schemeClr val="accent1">
                  <a:shade val="50000"/>
                </a:schemeClr>
              </a:solidFill>
            </a:ln>
          </p:spPr>
          <p:txBody>
            <a:bodyPr wrap="square">
              <a:spAutoFit/>
            </a:bodyPr>
            <a:lstStyle/>
            <a:p>
              <a:pPr algn="ctr" eaLnBrk="1" hangingPunct="1">
                <a:defRPr/>
              </a:pPr>
              <a:r>
                <a:rPr lang="ru-RU" sz="1385" b="1" dirty="0">
                  <a:solidFill>
                    <a:srgbClr val="007E01"/>
                  </a:solidFill>
                  <a:latin typeface="+mj-lt"/>
                  <a:ea typeface="ＭＳ Ｐゴシック" charset="0"/>
                  <a:cs typeface="Palatino"/>
                </a:rPr>
                <a:t>РУАНДА</a:t>
              </a:r>
              <a:endParaRPr lang="en-GB" sz="1385" b="1" dirty="0">
                <a:solidFill>
                  <a:srgbClr val="007E01"/>
                </a:solidFill>
                <a:latin typeface="+mj-lt"/>
                <a:ea typeface="ＭＳ Ｐゴシック" charset="0"/>
                <a:cs typeface="Palatino"/>
              </a:endParaRPr>
            </a:p>
            <a:p>
              <a:pPr algn="ctr" eaLnBrk="1" hangingPunct="1">
                <a:defRPr/>
              </a:pPr>
              <a:endParaRPr lang="en-GB" sz="554" b="1" i="1" dirty="0">
                <a:latin typeface="Palatino"/>
                <a:ea typeface="ＭＳ Ｐゴシック" charset="0"/>
                <a:cs typeface="Palatino"/>
              </a:endParaRPr>
            </a:p>
            <a:p>
              <a:pPr algn="ctr" eaLnBrk="1" hangingPunct="1">
                <a:defRPr/>
              </a:pPr>
              <a:r>
                <a:rPr lang="ru-RU" sz="1108" b="1" cap="all" dirty="0">
                  <a:solidFill>
                    <a:srgbClr val="000000"/>
                  </a:solidFill>
                  <a:ea typeface="MS Gothic" charset="0"/>
                  <a:cs typeface="Palatino"/>
                </a:rPr>
                <a:t>Возможности инвестирования</a:t>
              </a:r>
              <a:r>
                <a:rPr lang="en-US" sz="1108" b="1" dirty="0">
                  <a:latin typeface="+mj-lt"/>
                  <a:ea typeface="MS PGothic" pitchFamily="34" charset="-128"/>
                </a:rPr>
                <a:t>: </a:t>
              </a:r>
              <a:r>
                <a:rPr lang="ru-RU" sz="1108" b="1" dirty="0">
                  <a:latin typeface="+mj-lt"/>
                  <a:ea typeface="MS PGothic" pitchFamily="34" charset="-128"/>
                </a:rPr>
                <a:t>ПРОИЗВОДСТВО СВИНИНЫ ДЛЯ МЕСТНОГО И РЕГИОНАЛЬНОГО РЫНКОВ</a:t>
              </a:r>
              <a:endParaRPr lang="en-GB" sz="1108" b="1" i="1" cap="all" dirty="0">
                <a:latin typeface="+mj-lt"/>
                <a:ea typeface="ＭＳ Ｐゴシック" charset="0"/>
                <a:cs typeface="Palatino"/>
              </a:endParaRPr>
            </a:p>
          </p:txBody>
        </p:sp>
        <p:sp>
          <p:nvSpPr>
            <p:cNvPr id="20498" name="Text Placeholder 2">
              <a:extLst>
                <a:ext uri="{FF2B5EF4-FFF2-40B4-BE49-F238E27FC236}">
                  <a16:creationId xmlns:a16="http://schemas.microsoft.com/office/drawing/2014/main" id="{322D3532-8AEA-43AB-94A1-65F4A2CA600D}"/>
                </a:ext>
              </a:extLst>
            </p:cNvPr>
            <p:cNvSpPr txBox="1">
              <a:spLocks/>
            </p:cNvSpPr>
            <p:nvPr>
              <p:custDataLst>
                <p:tags r:id="rId11"/>
              </p:custDataLst>
            </p:nvPr>
          </p:nvSpPr>
          <p:spPr bwMode="auto">
            <a:xfrm rot="16200000">
              <a:off x="-2827500" y="4875477"/>
              <a:ext cx="1852162" cy="385265"/>
            </a:xfrm>
            <a:prstGeom prst="rect">
              <a:avLst/>
            </a:prstGeom>
            <a:solidFill>
              <a:srgbClr val="FFFF66"/>
            </a:solidFill>
            <a:ln w="9525">
              <a:solidFill>
                <a:srgbClr val="FFFF66"/>
              </a:solidFill>
              <a:miter lim="800000"/>
              <a:headEnd/>
              <a:tailEnd/>
            </a:ln>
          </p:spPr>
          <p:txBody>
            <a:bodyPr lIns="25322" tIns="12661" rIns="25322" bIns="12661" anchor="ctr"/>
            <a:lstStyle>
              <a:lvl1pPr marL="342900" indent="-34290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120000"/>
                </a:lnSpc>
                <a:buFont typeface="Arial" panose="020B0604020202020204" pitchFamily="34" charset="0"/>
                <a:buNone/>
              </a:pPr>
              <a:r>
                <a:rPr lang="ru-RU" altLang="en-US" sz="831" b="1" dirty="0">
                  <a:latin typeface="Helvetica Neue" charset="0"/>
                </a:rPr>
                <a:t>ПРЕИМУЩЕСТВА</a:t>
              </a:r>
              <a:endParaRPr lang="en-GB" altLang="en-US" sz="831" b="1" dirty="0">
                <a:latin typeface="Helvetica Neue" charset="0"/>
              </a:endParaRPr>
            </a:p>
          </p:txBody>
        </p:sp>
        <p:pic>
          <p:nvPicPr>
            <p:cNvPr id="20505" name="Picture 9" descr="RWAN0001.GIF">
              <a:extLst>
                <a:ext uri="{FF2B5EF4-FFF2-40B4-BE49-F238E27FC236}">
                  <a16:creationId xmlns:a16="http://schemas.microsoft.com/office/drawing/2014/main" id="{6302DB11-F53D-4279-B00C-76CC7742BC62}"/>
                </a:ext>
              </a:extLst>
            </p:cNvPr>
            <p:cNvPicPr>
              <a:picLocks noChangeAspect="1"/>
            </p:cNvPicPr>
            <p:nvPr>
              <p:custDataLst>
                <p:tags r:id="rId12"/>
              </p:custDataLst>
            </p:nvPr>
          </p:nvPicPr>
          <p:blipFill>
            <a:blip r:embed="rId19">
              <a:extLst>
                <a:ext uri="{28A0092B-C50C-407E-A947-70E740481C1C}">
                  <a14:useLocalDpi xmlns:a14="http://schemas.microsoft.com/office/drawing/2010/main" val="0"/>
                </a:ext>
              </a:extLst>
            </a:blip>
            <a:srcRect/>
            <a:stretch>
              <a:fillRect/>
            </a:stretch>
          </p:blipFill>
          <p:spPr bwMode="auto">
            <a:xfrm>
              <a:off x="-3015758" y="9105229"/>
              <a:ext cx="754563" cy="506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Box 24">
              <a:extLst>
                <a:ext uri="{FF2B5EF4-FFF2-40B4-BE49-F238E27FC236}">
                  <a16:creationId xmlns:a16="http://schemas.microsoft.com/office/drawing/2014/main" id="{002B8CC1-2A61-4C5D-A131-0A7E7B29176F}"/>
                </a:ext>
              </a:extLst>
            </p:cNvPr>
            <p:cNvSpPr txBox="1"/>
            <p:nvPr/>
          </p:nvSpPr>
          <p:spPr>
            <a:xfrm>
              <a:off x="-1320097" y="6095801"/>
              <a:ext cx="7346120" cy="2923194"/>
            </a:xfrm>
            <a:prstGeom prst="rect">
              <a:avLst/>
            </a:prstGeom>
            <a:noFill/>
          </p:spPr>
          <p:txBody>
            <a:bodyPr wrap="square">
              <a:spAutoFit/>
            </a:bodyPr>
            <a:lstStyle/>
            <a:p>
              <a:pPr algn="just">
                <a:spcAft>
                  <a:spcPts val="692"/>
                </a:spcAft>
                <a:buFont typeface="Wingdings" pitchFamily="2" charset="2"/>
                <a:buChar char="ü"/>
                <a:defRPr/>
              </a:pPr>
              <a:r>
                <a:rPr lang="ru-RU" sz="1200" dirty="0">
                  <a:latin typeface="Bookman Old Style" pitchFamily="18" charset="0"/>
                </a:rPr>
                <a:t>Ежегодный стабильный рост производства свинины за последние </a:t>
              </a:r>
              <a:r>
                <a:rPr lang="en-GB" sz="1200" dirty="0">
                  <a:latin typeface="Bookman Old Style" pitchFamily="18" charset="0"/>
                </a:rPr>
                <a:t>10 </a:t>
              </a:r>
              <a:r>
                <a:rPr lang="ru-RU" sz="1200" dirty="0">
                  <a:latin typeface="Bookman Old Style" pitchFamily="18" charset="0"/>
                </a:rPr>
                <a:t>лет</a:t>
              </a:r>
              <a:r>
                <a:rPr lang="en-GB" sz="1200" dirty="0">
                  <a:latin typeface="Bookman Old Style" pitchFamily="18" charset="0"/>
                </a:rPr>
                <a:t>. </a:t>
              </a:r>
            </a:p>
            <a:p>
              <a:pPr algn="just">
                <a:spcAft>
                  <a:spcPts val="692"/>
                </a:spcAft>
                <a:buFont typeface="Wingdings" pitchFamily="2" charset="2"/>
                <a:buChar char="ü"/>
                <a:defRPr/>
              </a:pPr>
              <a:r>
                <a:rPr lang="ru-RU" sz="1200" dirty="0">
                  <a:latin typeface="Bookman Old Style" pitchFamily="18" charset="0"/>
                </a:rPr>
                <a:t>Стабильное увеличение спроса на свинину, особенно в Кигали</a:t>
              </a:r>
              <a:r>
                <a:rPr lang="en-GB" sz="1200" dirty="0">
                  <a:latin typeface="Bookman Old Style" pitchFamily="18" charset="0"/>
                </a:rPr>
                <a:t>. </a:t>
              </a:r>
              <a:r>
                <a:rPr lang="ru-RU" sz="1200" dirty="0">
                  <a:latin typeface="Bookman Old Style" pitchFamily="18" charset="0"/>
                </a:rPr>
                <a:t>Спрос удовлетворяется в основном за счет импорта. </a:t>
              </a:r>
            </a:p>
            <a:p>
              <a:pPr algn="just">
                <a:spcAft>
                  <a:spcPts val="692"/>
                </a:spcAft>
                <a:buFont typeface="Wingdings" pitchFamily="2" charset="2"/>
                <a:buChar char="ü"/>
                <a:defRPr/>
              </a:pPr>
              <a:r>
                <a:rPr lang="ru-RU" sz="1200" dirty="0">
                  <a:latin typeface="Bookman Old Style" pitchFamily="18" charset="0"/>
                </a:rPr>
                <a:t>Большой потребительский рынок  регионов ВАС и Великих озер</a:t>
              </a:r>
              <a:r>
                <a:rPr lang="en-GB" sz="1200" dirty="0">
                  <a:latin typeface="Bookman Old Style" pitchFamily="18" charset="0"/>
                </a:rPr>
                <a:t>. </a:t>
              </a:r>
            </a:p>
            <a:p>
              <a:pPr algn="just">
                <a:spcAft>
                  <a:spcPts val="692"/>
                </a:spcAft>
                <a:buFont typeface="Wingdings" pitchFamily="2" charset="2"/>
                <a:buChar char="ü"/>
                <a:defRPr/>
              </a:pPr>
              <a:r>
                <a:rPr lang="ru-RU" sz="1200" dirty="0">
                  <a:latin typeface="Bookman Old Style" pitchFamily="18" charset="0"/>
                </a:rPr>
                <a:t>Приток и быстрый рост населения Кигали за счет процесса экспатриации обуславливает высокий спрос на мясную, в частности свиную, продукции.</a:t>
              </a:r>
              <a:endParaRPr lang="en-GB" sz="1200" dirty="0">
                <a:latin typeface="Bookman Old Style" pitchFamily="18" charset="0"/>
              </a:endParaRPr>
            </a:p>
          </p:txBody>
        </p:sp>
        <p:pic>
          <p:nvPicPr>
            <p:cNvPr id="20501" name="Picture 3">
              <a:extLst>
                <a:ext uri="{FF2B5EF4-FFF2-40B4-BE49-F238E27FC236}">
                  <a16:creationId xmlns:a16="http://schemas.microsoft.com/office/drawing/2014/main" id="{6940F8CE-3E56-4878-83ED-E8AA71C31876}"/>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748782" y="3618095"/>
              <a:ext cx="3459120" cy="3119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02" name="Footer Placeholder 4">
              <a:extLst>
                <a:ext uri="{FF2B5EF4-FFF2-40B4-BE49-F238E27FC236}">
                  <a16:creationId xmlns:a16="http://schemas.microsoft.com/office/drawing/2014/main" id="{1F111ED1-46D0-4D53-9E03-4BB0886F830B}"/>
                </a:ext>
              </a:extLst>
            </p:cNvPr>
            <p:cNvSpPr txBox="1">
              <a:spLocks/>
            </p:cNvSpPr>
            <p:nvPr>
              <p:custDataLst>
                <p:tags r:id="rId13"/>
              </p:custDataLst>
            </p:nvPr>
          </p:nvSpPr>
          <p:spPr bwMode="auto">
            <a:xfrm>
              <a:off x="958849" y="8658226"/>
              <a:ext cx="5365059"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1652" tIns="12661" rIns="31652" bIns="12661"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buClr>
                  <a:srgbClr val="000000"/>
                </a:buClr>
                <a:buSzPct val="100000"/>
                <a:buFont typeface="Times New Roman" panose="02020603050405020304" pitchFamily="18" charset="0"/>
                <a:buNone/>
              </a:pPr>
              <a:endParaRPr lang="en-US" altLang="en-US" sz="762" i="1" dirty="0">
                <a:latin typeface="Palatino" pitchFamily="18" charset="0"/>
              </a:endParaRPr>
            </a:p>
          </p:txBody>
        </p:sp>
        <p:pic>
          <p:nvPicPr>
            <p:cNvPr id="20503" name="Picture 2" descr="http://www.agricultureandfood.co.uk/~/media/agricultureandfood-co-uk/Current%20issues/Pig%20industry%20matters/2013/april/Danbred-Sow_web.ashx">
              <a:extLst>
                <a:ext uri="{FF2B5EF4-FFF2-40B4-BE49-F238E27FC236}">
                  <a16:creationId xmlns:a16="http://schemas.microsoft.com/office/drawing/2014/main" id="{7EA44409-2DC7-4B80-8DDD-CD4FB1B8CCE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327949" y="1198568"/>
              <a:ext cx="2253669" cy="20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150543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Placeholder 2">
            <a:extLst>
              <a:ext uri="{FF2B5EF4-FFF2-40B4-BE49-F238E27FC236}">
                <a16:creationId xmlns:a16="http://schemas.microsoft.com/office/drawing/2014/main" id="{7BBCC4BF-C34D-474D-AB50-52912344A78F}"/>
              </a:ext>
            </a:extLst>
          </p:cNvPr>
          <p:cNvSpPr txBox="1">
            <a:spLocks/>
          </p:cNvSpPr>
          <p:nvPr>
            <p:custDataLst>
              <p:tags r:id="rId2"/>
            </p:custDataLst>
          </p:nvPr>
        </p:nvSpPr>
        <p:spPr bwMode="auto">
          <a:xfrm rot="16200000">
            <a:off x="3124570" y="989137"/>
            <a:ext cx="1782639" cy="5860069"/>
          </a:xfrm>
          <a:prstGeom prst="rect">
            <a:avLst/>
          </a:prstGeom>
          <a:noFill/>
          <a:ln w="9525">
            <a:solidFill>
              <a:srgbClr val="FFFF00"/>
            </a:solidFill>
            <a:miter lim="800000"/>
            <a:headEnd/>
            <a:tailEnd/>
          </a:ln>
          <a:extLst>
            <a:ext uri="{909E8E84-426E-40DD-AFC4-6F175D3DCCD1}">
              <a14:hiddenFill xmlns:a14="http://schemas.microsoft.com/office/drawing/2010/main">
                <a:solidFill>
                  <a:srgbClr val="FFFFFF"/>
                </a:solidFill>
              </a14:hiddenFill>
            </a:ext>
          </a:extLst>
        </p:spPr>
        <p:txBody>
          <a:bodyPr lIns="25322" tIns="12661" rIns="25322" bIns="12661" anchor="ctr"/>
          <a:lstStyle>
            <a:lvl1pPr marL="342900" indent="-34290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120000"/>
              </a:lnSpc>
              <a:buFont typeface="Arial" panose="020B0604020202020204" pitchFamily="34" charset="0"/>
              <a:buNone/>
            </a:pPr>
            <a:endParaRPr lang="en-GB" altLang="en-US" sz="831">
              <a:latin typeface="Helvetica Neue" charset="0"/>
            </a:endParaRPr>
          </a:p>
        </p:txBody>
      </p:sp>
      <p:sp>
        <p:nvSpPr>
          <p:cNvPr id="50" name="Text Placeholder 2">
            <a:extLst>
              <a:ext uri="{FF2B5EF4-FFF2-40B4-BE49-F238E27FC236}">
                <a16:creationId xmlns:a16="http://schemas.microsoft.com/office/drawing/2014/main" id="{B73B5082-ED96-4630-B002-34869B998F91}"/>
              </a:ext>
            </a:extLst>
          </p:cNvPr>
          <p:cNvSpPr txBox="1">
            <a:spLocks/>
          </p:cNvSpPr>
          <p:nvPr>
            <p:custDataLst>
              <p:tags r:id="rId3"/>
            </p:custDataLst>
          </p:nvPr>
        </p:nvSpPr>
        <p:spPr>
          <a:xfrm rot="16200000">
            <a:off x="3325328" y="2610821"/>
            <a:ext cx="1304924" cy="5936273"/>
          </a:xfrm>
          <a:prstGeom prst="rect">
            <a:avLst/>
          </a:prstGeom>
          <a:noFill/>
          <a:ln>
            <a:solidFill>
              <a:srgbClr val="3366FF"/>
            </a:solidFill>
          </a:ln>
        </p:spPr>
        <p:txBody>
          <a:bodyPr lIns="0" tIns="0" rIns="0" bIns="0" anchor="ctr"/>
          <a:lstStyle>
            <a:lvl1pPr marL="342900" indent="-342900"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lnSpc>
                <a:spcPts val="831"/>
              </a:lnSpc>
              <a:defRPr/>
            </a:pPr>
            <a:endParaRPr lang="en-GB" sz="831" dirty="0">
              <a:solidFill>
                <a:schemeClr val="bg1"/>
              </a:solidFill>
              <a:effectLst>
                <a:outerShdw blurRad="38100" dist="38100" dir="2700000" algn="tl">
                  <a:srgbClr val="000000"/>
                </a:outerShdw>
              </a:effectLst>
              <a:latin typeface="Helvetica Neue" charset="0"/>
              <a:cs typeface="Helvetica Neue" charset="0"/>
            </a:endParaRPr>
          </a:p>
        </p:txBody>
      </p:sp>
      <p:graphicFrame>
        <p:nvGraphicFramePr>
          <p:cNvPr id="22532" name="Object 51">
            <a:extLst>
              <a:ext uri="{FF2B5EF4-FFF2-40B4-BE49-F238E27FC236}">
                <a16:creationId xmlns:a16="http://schemas.microsoft.com/office/drawing/2014/main" id="{005813BE-93B2-43A0-823F-CA4A4FAE7476}"/>
              </a:ext>
            </a:extLst>
          </p:cNvPr>
          <p:cNvGraphicFramePr>
            <a:graphicFrameLocks noChangeAspect="1"/>
          </p:cNvGraphicFramePr>
          <p:nvPr/>
        </p:nvGraphicFramePr>
        <p:xfrm>
          <a:off x="2198077" y="0"/>
          <a:ext cx="109904" cy="109904"/>
        </p:xfrm>
        <a:graphic>
          <a:graphicData uri="http://schemas.openxmlformats.org/presentationml/2006/ole">
            <mc:AlternateContent xmlns:mc="http://schemas.openxmlformats.org/markup-compatibility/2006">
              <mc:Choice xmlns:v="urn:schemas-microsoft-com:vml" Requires="v">
                <p:oleObj spid="_x0000_s7177" name="think-cell Slide" r:id="rId15" imgW="38100" imgH="38100" progId="">
                  <p:embed/>
                </p:oleObj>
              </mc:Choice>
              <mc:Fallback>
                <p:oleObj name="think-cell Slide" r:id="rId15" imgW="38100" imgH="38100" progId="">
                  <p:embed/>
                  <p:pic>
                    <p:nvPicPr>
                      <p:cNvPr id="22532" name="Object 51">
                        <a:extLst>
                          <a:ext uri="{FF2B5EF4-FFF2-40B4-BE49-F238E27FC236}">
                            <a16:creationId xmlns:a16="http://schemas.microsoft.com/office/drawing/2014/main" id="{005813BE-93B2-43A0-823F-CA4A4FAE747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98077" y="0"/>
                        <a:ext cx="109904" cy="109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7" name="Rectangle 46" hidden="1">
            <a:extLst>
              <a:ext uri="{FF2B5EF4-FFF2-40B4-BE49-F238E27FC236}">
                <a16:creationId xmlns:a16="http://schemas.microsoft.com/office/drawing/2014/main" id="{29EE60C2-7D9B-424F-8E2C-DAD40BD71297}"/>
              </a:ext>
            </a:extLst>
          </p:cNvPr>
          <p:cNvSpPr/>
          <p:nvPr>
            <p:custDataLst>
              <p:tags r:id="rId4"/>
            </p:custDataLst>
          </p:nvPr>
        </p:nvSpPr>
        <p:spPr bwMode="auto">
          <a:xfrm>
            <a:off x="2198077" y="0"/>
            <a:ext cx="109904" cy="109904"/>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defRPr/>
            </a:pPr>
            <a:endParaRPr lang="en-US" sz="415">
              <a:cs typeface="Calibri"/>
              <a:sym typeface="Calibri"/>
            </a:endParaRPr>
          </a:p>
        </p:txBody>
      </p:sp>
      <p:sp>
        <p:nvSpPr>
          <p:cNvPr id="22534" name="Text Placeholder 2">
            <a:extLst>
              <a:ext uri="{FF2B5EF4-FFF2-40B4-BE49-F238E27FC236}">
                <a16:creationId xmlns:a16="http://schemas.microsoft.com/office/drawing/2014/main" id="{E453D724-199E-4B06-9FFF-217C5390EC27}"/>
              </a:ext>
            </a:extLst>
          </p:cNvPr>
          <p:cNvSpPr>
            <a:spLocks noGrp="1"/>
          </p:cNvSpPr>
          <p:nvPr>
            <p:custDataLst>
              <p:tags r:id="rId5"/>
            </p:custDataLst>
          </p:nvPr>
        </p:nvSpPr>
        <p:spPr bwMode="auto">
          <a:xfrm>
            <a:off x="2984989" y="2933335"/>
            <a:ext cx="265967" cy="94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buSzPct val="25000"/>
              <a:buFont typeface="Arial" panose="020B0604020202020204" pitchFamily="34" charset="0"/>
              <a:buNone/>
            </a:pPr>
            <a:endParaRPr lang="en-US" altLang="en-US" sz="623">
              <a:latin typeface="Calibri" panose="020F0502020204030204" pitchFamily="34" charset="0"/>
              <a:sym typeface="Calibri" panose="020F0502020204030204" pitchFamily="34" charset="0"/>
            </a:endParaRPr>
          </a:p>
        </p:txBody>
      </p:sp>
      <p:sp>
        <p:nvSpPr>
          <p:cNvPr id="22535" name="Text Placeholder 2">
            <a:extLst>
              <a:ext uri="{FF2B5EF4-FFF2-40B4-BE49-F238E27FC236}">
                <a16:creationId xmlns:a16="http://schemas.microsoft.com/office/drawing/2014/main" id="{02630197-D0F1-441A-8232-6E3C13D4137E}"/>
              </a:ext>
            </a:extLst>
          </p:cNvPr>
          <p:cNvSpPr>
            <a:spLocks noGrp="1"/>
          </p:cNvSpPr>
          <p:nvPr>
            <p:custDataLst>
              <p:tags r:id="rId6"/>
            </p:custDataLst>
          </p:nvPr>
        </p:nvSpPr>
        <p:spPr bwMode="auto">
          <a:xfrm>
            <a:off x="2984989" y="2933335"/>
            <a:ext cx="265967" cy="94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buSzPct val="25000"/>
              <a:buFont typeface="Arial" panose="020B0604020202020204" pitchFamily="34" charset="0"/>
              <a:buNone/>
            </a:pPr>
            <a:endParaRPr lang="en-US" altLang="en-US" sz="623">
              <a:latin typeface="Calibri" panose="020F0502020204030204" pitchFamily="34" charset="0"/>
              <a:sym typeface="Calibri" panose="020F0502020204030204" pitchFamily="34" charset="0"/>
            </a:endParaRPr>
          </a:p>
        </p:txBody>
      </p:sp>
      <p:pic>
        <p:nvPicPr>
          <p:cNvPr id="22536" name="Picture 9" descr="http://tonyblairoffice.org/page/-/images/agi/rdb%20logo.jpg">
            <a:extLst>
              <a:ext uri="{FF2B5EF4-FFF2-40B4-BE49-F238E27FC236}">
                <a16:creationId xmlns:a16="http://schemas.microsoft.com/office/drawing/2014/main" id="{3B960525-BA83-4213-BFEB-34EC9C19EA2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862337" y="6296392"/>
            <a:ext cx="901762" cy="405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7" name="AutoShape 4" descr="data:image/jpeg;base64,/9j/4AAQSkZJRgABAQAAAQABAAD/2wCEAAkGBxQTEhUUExQVFhUXGBgYGBYWGBgaHhgXGBcXHBgYGBgcHCggGBolHBcYIjEhJSkrLi4uFx8zODMsNygtLiwBCgoKDg0OGxAQGiwkHyQsLCwsLCwsLCwsLCwsLCwsLCwsLCwsLCwsLCwsLCwsLCwsLCwsLCwsLCwsLCwsLCwsLP/AABEIAKYBLwMBIgACEQEDEQH/xAAbAAACAwEBAQAAAAAAAAAAAAAEBQIDBgEAB//EAEUQAAECAwQFCAcGBQMFAQAAAAECEQADIQQSMUEFIlFhcQYTMoGRobHwQmJyksHR0hQWI1Ky4TOCwtPxBySiFVNjs+I0/8QAGQEAAwEBAQAAAAAAAAAAAAAAAAECAwQF/8QAJxEAAgIBBQACAgEFAAAAAAAAAAECEQMEEiExQRNRFCKBMmGxwfD/2gAMAwEAAhEDEQA/ANbNAvKoOkoknElz3RWskYHqgiaNZXtHxMDlFYkqylaXxA4buuMZyn5PBCStIPNHEZyicCn1fDhG7CPLRIygQQRQhiDrJIOIIOUAj4VNQqWq6rqP5ht/aLER9H5Sci0rlk2eik6wlu9cwk41wY7tlfn2j7MqZMTKSNclmNGObvg2cT2XFhliqLoN1Tghg+G7YxPZDNSiVKJLklydu+HmiuSCEVXNvKat1CcScUqNYq5S6HTZwgoUo3wp7zUIagbjCqhylYokqrvyjb6L0smVKElM5SQAXDS2vHpYrBzMY/QtmKjeySxLtV8g5DlhlWmEMBYjeOs15VHQzkk0BKmMTL6EjSybcCVgzk3SokJNy7VSqhHOMKNhEpEx0Xb6CHOqU06ZxaWuEKLCpVHFGFAS5Oy6Ccu+JI0aspcYOrJQwJGNz4xIUixTB0viqYTuJIpUD8po0UE6+9x8M4nZ5BCyfXaj4uS+GEcnKaZKAFVLrT0QE4niR2mKAzmh58s2iXQl1YqZgS7MkDxMOtMVnED/ALaHrtM1mpjjnGW0aP8AcAhtWa54CZlH0eXoaXNWpalLBYJYMzJvkYj1zFtEozk6X/sUjo6w6ZFNdeLOM8oBtZaYX3NTAMKb+MP9J6GSiQmzy1EC+litiekS1GxeI2fQqFr5yZrAuEpDgEAnWURlsEIBJZ0JmTxeTf1MKmowoMaGBNO2fm5q0VZwoDC7eAN1mxDx9AsqKXUgJTWiQ2T4DqjPcstGFxOxBAStsiAyVcCKcQNsA0I9AEmchrpN4XQrokuLoVuKmEa202xKbPMlqvJmGUU3WSHVfVRWBZi2fWGhDyT0WVzQtzclFKz6xBdKN1Q/Ab43s8Xpa0rAIKEuDUEX6gvu8BCfI3aMPY0lgdr+Ih4lIYAeelE7Zokc3zspN0Ie8irXXGsgnZmneSM4pkr89sTIaL0p+NODQPak4cB+tcEKy87IFnrFHUBQYlvSVERAusAiXKNRShE4JB5s1o5AUzHg9OuAft1wi6ApsSCWNMI6vTcwkMlrpej45eeEUk07E2g2yWtE3Wlm+Sl2DnVDkukYNnC6z6Rlrmc4FklSEgi8HS5cC6KJLJL9UJdIaSu2qXMqg6qV80AFFClV4qIJ7oa2vS8rWRLSQ6VupKUnXvPLSygCoAODUVO9oe0Qv0hPck5PTGp3QB9nUqrb41C7UlSlypkxSlIupVLF24laiwqzuAajI4NAdos6RQYf5ikwEwk74nzB+T1r4dtIMXKFaZxBaA8MAG558+GJOMe5vj5/qOZygth58+dsdMsdnV1P6PshwdsKwBbpxbqFBTAB/RG2D9Cj8aXQVKiaipuKwAIoHiopG4U3g/8Ax7OcH6GlDnkUd3wcPqKqn8o3QWBt5qmCj6yvExxXRBiFuUwI9ZXiYsk1SRsjaiSpOEWJVFUouTwiSJgArBQi0HZCvSWigZiZ8sVCgZia4YXhvbEdcNFJzBpFkpbRLQxTJxPnZC/luh5Es7FkZekn/wCYd2uz3VAp6Ku45j4iF/KhD2Qn8qkHEZ0+MTIaMpYbRcuoC5gKmdKTqkq2geoWc7xDOz2mSNcqtF/8JIIEu8UiqkAs1FF0A0FXhNLWnnkXRTVqXJw4tgwwizRloZaKXmVfTiLpUpAIBLk6qTQ/mo0TRQ+0JpJTzVWhc5LlLKSEklnBCnYUpkGrCXlXbiLOTLUrpUU9SjnFKLgUwg7SdquzpywVIN+Y7FQN4kOKNdqTCjlMnm5QE4LAE1ImBtZlKU4IO1xEY3uHNJdFHJ/SS5k1KVHVcKupKwlwpNbpVvMPJdnARereBlMXUWvTUhWJaogXRBlruLQgAKS6VXEPdfE0xoOyNBOlBKUarggUCEVZSmvNiQodwjYzMdKsqlqmzApL86UhAu3mCnOqz3GIruMfQtG4nr8IzmlbPKUhRlyFoWCS6AA7AFZWE1UGesaKwHh5ECYA2krMJhunAl8AcjkYnYrMi5dMwgAMBdSaYMCA8TtH8QcfnAUy0XGLpDqA1iBnhWIkA2uJuhlV9JJDbXILsRFc+6UlK2aoqH6iGrAcq0BSQpKgobQXFN8U6VVqJ9oV6jAOwiwTZMpLIuIvEkgAs5HyaCxpCXVzsyVllhCackqN8gOoAkCjmgcDeSk7yqkWSmS15OrmVOA2ZfGnXwMMdmfnyrQuaZiUnEqAvJZIdgA5bBhV40TFICBdKQSQWD1Gaseo4ERTZpovFsGPWL3AQWVpMJxsLsprSneNvGAFWdOJTVy+GNCR3jthiqaBgPNIXTC972lfpRCSoHyeZsqed8QsJoaYqJPWQ2exolNOqeEes3SbePFvhDYjH6QWpdrXTW5xTBO1L3QOwQTYtIrSFKEzo3VoQZaVBRBDpKqKTUY1G6F9sSeeWoFjziy/8xj1nQQ4O/vqPGKY/CEm3KC1HAqUSWzJxJ9Y5mD5WkTthNPRnHOcpAOjRC1b38+ewxxdo+Xl/NISS7Rk8XptB/auB894hiGnPd54ddc8duBBiXOjbTImlD4JqxADgwsTN63fbUNUYPUVxxCjFonb3NX2q2vidZJfKsFAMBM450zcbsLwyJxEMNDTvxkPVySWz1FMp2qYR87Vn7duKVEYmlOyGWg5zz5e11EDZqKCkgVavhCoRv8ASitY8T4mJWaeyFHgIjb6udilD/kYGTM1bu9+5o2S4ICnZXb34RUsxM4DgIqSoYny0OhhSSdtIulTXLd8ClTiJ2Y1EKgDV1F04KHYcoWaYlvZpydgGzJQ2wbNmU649aklSJgHpIUesD9h2xlNcDs+cTJKJNwrWSvIOkDc71wNYhY7PMuhYBACmCizAkpSj/kk9hgbSkorVNmXQoJmJQpWy8HQNwx7IvRayoiWlF4IGquoD3lLqk7AtY78oTGjtvlmZNUZT82FVcgP0dY1xIBJZ3Ji/wD1CPOpJSXCp0sAh2LsMDvgmzTkhJWhIBvMsC61AcBjg+ELNMLWtipglRksEhgDzoB1cj8oXoPov0Va1SUSkc0taUJu3wRUVrdy4QdaOVtUJ5hbjV6afzE1BHrd0K584S032JKgABuIcDs8YnL5qY3PBiapWK3dgUDinb8IpuiSHKC1c6Ura7dSQGU5d3xYNG90aqnndHz+0JAWqUoJDPdKW1huGVDG+0WadngIOPBkLfNCVAkgAHEts8YwHKW0CYtRvOAEhLFwCcW4vXhGw5WPzdMbya7K1MYjTk3BIusQCWBFSQTR6RPo/BhoXSXMhaVAlClKIusbqmIIUHcUD9UNLVppBSlN1bpAvKDF6ZB3aM7ZFa0zPXHV069UWTFNHZgwRyRbZhkyOLSRqrQPwkuSdUqetUuijPvT7sAzbW4aoS7+0R8P3i+2WhBs6TfAvSygEH0lc2ABv3bjGVkKUicU84biVsy1kkpZ8M45UjZmpscw4ku6QrtJpvwgnnYukaTkE6iSasGltwx4xHSkyoejCgYb3q/CBoaZQqcXpltfdm1GdPvboHmTWCv5ie6BrVpCVLNxRmFwXu1Avmo24/CJiYFEHEEqOGTmObDOUm2+vDXLilFJtHJFvTMAuqSTRwC+e0UOEFWeZ+IkbS3XUjwMUBIDAAAVLb/JjoSHdsLzHY6ThG5kZ6eAkKWoOASS3HzWLLPZTNAYKQateDEv0Q2Ry7IJly2Ay3xdpFa538NSULW98lywAa8GAAUrFtgeFZozLzgajOtN4xEAE1hmuxKkG4qqgxfJQ2jcYAnByTg5LDr8iKJR5JpE0TPP79kUpMdQK7O7PPshjoI53PzTW2cRF8uY2GXH0TubJUCIQbt5qChNGdj+0cAwxrTDaneICRgKU4jsLjDd5pDXQCv9xL4kjLGUt/L5b4RyZpzByOBzDYMIc8l5ZVPln0QS5Of4a4TY6vo+llTqWPWV+owOUMYmtbLUfWV+oxy2LAyoc43Mi9IcDh8YEm9LdlF1mW6OBI6iXHjA9oVrpG49zQeh4EXmEX2ZLNA6Q5glBg8A9MMFWcPT4PiGPwgMQTZlVEQ1aGfMJs/mp08qSFDnJbgjBkqDjg7dcQGkpZmH8CWu96Sizvg5fKH3KjRSElag14qUp2YvziRtORaLOTFkl82SEVvEPqijAgY7zlnGMpVGzXHHdKmxZJtF5ExIShLBLc2aFKr4FMmrFOlUgSUs1FyGbAPNSfnDfTEsJmmjXpQLOC91Z2GmMZ/Ti3saiHoUYhujNCcBhBF2rDIkm0jltRTm8aAoJOGwjMnJs2BipdpSlk1owZ3dn1js6WELbXaCtMkO7ZcG2dcSkpJUM6h8KBxXui6MhispSFEJ1mNTVnHdH0HQynQDuT+kRj5Viv4pBGDEs+7/ADDuw6VEsAMSKMzYBxt2ACAYRyotBRLUoAlQwSATeJYXaZF6nZHzOc4DEEBnqkj0QTU4gEtG90ja1rllSVBKgaHN8TgK0bvgFdiROQEzQ90O4K0qJAYuHIrXKFYzPWSZrTDsU439LPri+1zQlIL0vAcQ7kNweK5sgSp0xAL0SXPrV7njR6DssqZJdTghRSWDuwcEu9WVGq1HxQd9MyljUmC2hAm2CVUgFT0NQ0wkQoTo0JLhaicXNXptjT6Ss7SShALJWWG68g/GFCbDNV0UE9nzjJT3fsaVRfZNQgA0uy1VY1U5PVSDrTalLZzhsDbMeyF0pTkH/wAcv+oQRfiW2ykgC16OWpZUhV0Kz2beO2DrKkJAD4Xg5z1jXzti1BcgDa3bBiNDzkllJAOy8k9I0wMTCKia5M0ppJ+Ap2+cf2joPS4H9MXWuxqlllpuk1FQXGDuHzgYka3CLRiLrOBdBIc5k8TB9mVk7dSuou1P8wFIqhPnMwVZ5QiWapcF+l7IJyUgnW1rpzCqUriHxAhdyhsBssiZZ13DMlgpwdlLLhSXDgMpwYZCwy1FJKahT0JDvi4B2R3TOl7LaZ8yWoJJCUqpeupSEpJZVSpTkZUYh8YcWTJNHzqTt7jXdFpTwglFmvAVY9TGHFl5LTFA/iSwwcu7dqXhsaaM6pbBsQHYZVp8XiAcmlf8NGlHJdXNqmKXLATlrm9womFqJRUoIcJDtdQlgRxqe0wCbR6wSbxAWo3VNQVe6KOchvjRWScJc2Td6JKgwphLXnAsmyJExSZaSzAAE3i7hwrYfgY0GhdHvaU3Uk3QTq3KEpIdlkD4xD/qNFJKLH8/pK9pX6jHp9Ujs7IitWsr2lfqMTllwR1x1s5QOyTiCUvnht2Hzsi6cBzqPZUO9Jge22dloWMHDwTLH4g3JPaSPlB3yAYkRKIAxJ4GCOxdLMURagwkMQcsUtXJSSesFD94jKWOZOf8JiwdUski+ARUKyVVo1/LmWTZb4xlqB/lXqq77p7YQaGsgMtUwrwPRSoitbrh2JcChpWMaqyk+SpVoQqYlwqWq6pKkLBD1SXvGhDg55xO36JmTJC0JMslSizTEkVmXgHG6NDLW6QXKKYEJSf0+XirmFEBaLoD1vLrlU0YQgbtmNsPJMpIE2ZcUD6CQoEavpEj9qw1naCQnXlKUooBJv8ANhJYZFw+1sTDq3WWatjz0q8KJlkkltgLU7IWJss2YCXSz4CmOyHbJK9H25SZabwulqrAoWxIoMDllFsjRy5iXRMlNVjn1lyINOhVXalNwPQkJpUs/HZsO2ArPZSXD0NWYKxxugj4wDLTo8pAAXLH4gXrKOSACDvJETRZ9YEzUgMsFICiSVuxfJnPGJyNUJQmSU+iHIAoOBjlp0gJZAUUgkUosk9gwgoLBzLlywog84steJlpCmHrEPRsIlYrWtYLo1SQUMqWGSwzDXnxemMLJ2kLOqYyudUpZolICQSaMmrwfLASsBCSEBJF0n0ioaxUcgARWJnCMlUkF0OdHJSpRC0ApdbpUxr+G2FHxglWj5QULqUyzj0ArxEZqwaSQZplJWCpTqTdU9wJCQwLM1D70aiULtwDAAdob948vVZ54JpRfH0aRSl2Ar0LKTVUw5ZMSz5ua1OWcAJ0agrbnQkE7KJGQJUoOeqHFhtCjNCVJSWCnNDeqLtMqQfOVLB/hB9yR8ov8tNfvLa/7K/9MFGhDatEy5aazCskO6WATi2BLmmcN/td6WFpJ1w5JYknPE1ga02lCucSWdIAYPSmzbWIyJjoSmWdlKgsMjQ5RlqPklTi3/yGqFtttBTPvA6ySggjaAI3IRKWLxmKBO0KV3u8Zu0aFvKKjec7xTcHBgqXbbtFEgkKUSKDVqQK45tHTLO8MYblfHP34RV3QPykscsyStM2zKOIUlCxMJeqXBILmmsMozMmH9qs5tDXTqte1iRizZGBVaCUMD4H4p8I6MeT5I7ki4yrsp0cm9MQn8ykp7SB8Y2Vt/0xs7EyVzEKAN0XnD5B2cB4ydksy5M2WtYF1K0qJqAwUDiQwwj65YdIy5weWtKtyVJV4GNoL7FKX0z5ZpTkAuSgNMBcAqTdDBTa3fm0ZW1aAnoOqtadwUbrbgSQM+2PtumLQk0qeDeEZO3JTUlgPWYN1wsiro3xVJfsjFBTJuFEwJzF9++nkwD9mlJVfAmgh2BBUMMwx8Y106zJNQ3UYEmWXdHO8rR0fiwfTEBmSgApE67MOJXLoQSHDhTgB89mUNNDicibLItdnBU7oKFIUWSpxeKiCx7Wia7Gk4pETsWj087L1CQCcMtRW8N5GQhxyW6JyabarGk066vaV+oxbKXV4rtaddXtK/UY5LVHoHmEraWQrcC3YWiFiU7KzIHhE55cRToxiptzj4w0DGSY88Tu0ioQgJPEwYqiZhDI6VlX7POQz3pSw38pPiI+ZaC0qlLqUQkMAxcu7ZAHZ3x9Uk1IG2h4Ghj4wqUZZKCGKdVhsHwjN9gbqRbkqAYpUKsQT5pwgsWkXWKW6g+58IzVneVZUTZhl82pwlyLzgkFISTrCj0wcwTZbNzbTVzZZExKVgyyVIALhn/M7vShEYSk1ba6KQ2VaWUFJIJGagk4edkXItJUC4SVHFV4h+IqOzZGZt9r1mQss4qhSgwzwAYdcRstsWFVmraoZS6P/MW74uMrjuaE+zQ82ZgCiUhnooMaHOkVyULQoqCklwzXSzdZx3wBpSYu4SlawwfVWrPgcIBE0GzSFLWp1Ga5K1Oq7MUA9cqCCE1NXQNUaKx2pSpgCiOoNGe5TEKnhBIBLJD7VKb4iC9AFHOOhthIL5ihhTyomkWkKHoknsKSI1oQz0PZESLS6xgFBJuksDgwApRx1mA7Zo6bPmKM3oE0BYBsqHGkPLNaEzA4w7w+Ri77ClVHHAjweJAB0bYpUog3gCPyCvblD6VbwSAEqO93OB6s4Dl6MQMUq6oIFsQigBfrHjHPlxKfY06DuaBINRrJNW27j5aLrQBe349HLjhCpOkVlQwZ8Gd+Jg8aygoi63rHOnR+cebqNI3NbFxRpFpIkLEipLuamufCLb9wMhPU7RMkZRBa1ZN4x6UYVFIzYutdrtCvRuJ2pIH/ACeOpImIDkE1fOvjELTYZqzVQUN9O7CLrHocBitjuekZ58PyVz0UnQZotDlZ3JT2XiQO6GJRujktgwAAAwAwiaZgjTBj+OCiS3bIiTVw44QHadHyybxQCr8wdKn2hQLwxM0REqfdGwCLSmjpswas+cr1VTFAjgoaqv5weIjFaRsExCtYCpukkBJvmoSpzi1XBIIcvi31MIz7Yy2nZ0qYmbr3ghKL0wAXUlMwKQhxRayXAbAXtsKUbRthyuLS8C7AlpMsPghLkF8o9apyEAla0oGZWQnxMZ/lbyiNllSpUotOXLSorb+GjBwD6SiCA+DPsj51PtRWSVqKlH0lOo9ZL+MLFpfkim3SN8urWN0lbPo1s5WWRD3VmYdiAW94snxgHR/LIrnoSiSkAlVVqJPQUcEs2G2MHcfCvnfBfJ//APVK4q/9a46FpMceas5pa3LPi6R9ltFVK9pXiYFTF8w6y/aV+oxQoVhoyJnCBZVF0y+P7Hugh4FSrX4gjrGENAOiTcBd3OcVpMSnnAbBFbwrAmMYmDFLxY8Kxl0k6w4x8l5QpCbRNASR+LMq7vrHsj6tLVUR8f08om1T2es6Z+sxHozQWaaTZrLuVPA6yO6kAzLa0lKQzhKgx2ibMIpwIh1o/QgVLllU0lKRqBDApcC8CrPWBLNSAOU2gJcmSJiJqsWuKA1ipyTeDFxU1BoInixGbmW2Z+YDgPnA82bMVitR7PlA61selDnRctK5X8QJWVFichRs+MUI080/7dXsphPaAlVklFF0zEzFpyJCFKWTqvQOEl4LKZvNlHOyQlmOqXbcXxhJZFBCgAlKylV5SkpJUEksHZ6B8WzMEugXYXyOV+PXpMX94NFfLVRE8EFul/TE+TSz9oqCKKxBHpbDWPcqk3rQlORvf04QIBRZNIKlgKSpluoAvgyUno7eNIfaL5ZKFJyAv1kUJ4pND2iIWywgWcPMCkg9FgDliXr2R7kxoy+82YHDsgYuAwfhSGwNno3S0uYHSVAeslSfHV7DDRKgoZKHb4Qllojy5DFxQ7RQ9oiRjkSU5JHVErg3jvhMmcsemrrY+Ii1GkF7UnqI8DBSChq2/tERv709rQB/1RQ9BJ4KI+BiE7Td0OZZ6lJPi0Pag5GfPHd737RxVqUPRPvCMvaeWUlJYy5j8EHbv3RBXKqTkFttuj5wmkNQk/DVfb1D0D2j5Rz/AKkr/t9qm+EZE8ppWSZnYn5xA8oUHCWrrKR84TaLWKb8NedLqGCJY4qJ7gRFU3TM3JaE+wj4qfxjHzOUJwCB1qJ7gBEZmkJygCAzvgnCtKqpE7ootYJ+jy3WwrrMKljYpRAfgIT2+3c6AgqZKeihCdUFi5xDnJy5gRIUtwpd4lmDleY2ao7YZaL0EokKW4SDUFg+4YxnPLwb4tOk7fJ3/UvQ5KZdpS5uITKmDYlyUK4AqKTxGyPnzeaR9tXLUQylImJIYpUkhwaEEihDR8x5X8nTZVhSXMlZ1SX1DjcJzpgcwNoMb6XNwoP+DHWYKe9fyI0rPDhDfk8Au0Sg+BViz/w14UwhHfG+GPJ2Z/uZQG1X/rXHc3wcCXJ9cmK11e0r9RiEyJT066vaV+ox4IKqNWOY2IPEFoDv6WQ2Db8otu3ePcOJzMDTVsCRU7Tt8TDAZy7QlYd9bMRFSoVmSSkKTRWYyO2KDal4Gm794kY6TMiC5xhMmad8MrMtCBemKS+QJHhEsoG0hpJUpN8l0uwpicWfqjA2dBmTipTOVFR4kue8xqOVGkBMCQjWAL3srxyfcBCyx2ZKNZWOz5xClYmOTaAhaEAsSAwFciS+zDGANMzgtctM7Wl84HSCQ4NA7GlSH21iNntXOKCiUJukgOw1aVqQ5xhZyinISpN0pLqBLF2rmRR8M45Nsvm9ofhs7PYpSUsiTKSNgQhvCMXyv5pM9KZctCDdvKKGAUSS1BRwBjvh8Jt2XeAvsoPkwJYlmqQ4pGK5R2lRtBOGqmm6rPvYiNMWbfKqE1RcGumgfhGo0HYBLlomICQqYgXncPgTrDeIxKbQW30hvYtLLugORdzfGOkkay5JFpvHEkijt31hRyxJ51JHrf0w20ZKVMWmaNYVLEse+kWabsrqvLSAN5Cj3QAZdAXMSE78TG8sUsIQlCQwSABwEYb7USwSLiaYYltp+EaGyaTXR2Pce6ADSyYptOmLOhXNrnISvNJNQ+DthAtm0onMEcK/vGP0oomdNVLlqJUtRvM1HoxVQUaEkM2itLWd255D7HrAsrSaDMWDNkBGrcImC8fzBQODGMRdYauqo4lSgpXvJoI7IuhQK03txLDrapgHZ9BRNSrorSr2VA+BgbSS2RCfRVklrWZt0IUou6AAwyABelIdaTSq4xmE0zlIeu8Y9kUKzG26zqvJKnZYdKgQdVyGKXeh4HcY8mznC8jEeluOTP1NDwSxNSlCw4lOElmJvVN5qYiCrNZpaeikdfnwjCTpnbijcbE9n0eSG1jV9VNO1TdrGGUjQa6FgN6lFWG5IENpdobPupBUu0DZXu7H+MYuUjpUY/YtkaEbFbD1EpT2lr3fBqNDSxUoKt6nV4xeLQBs4iLPtI64h2aLavCyVLSBRn2DDr/xE02gDHVyrQHrwiKJ2/tiwF88fOeMS4MreuiudpC6Sm6O3wpAk4C0IVKmrVdVQpuDqZVS4xBpF9qsAUHRRWx6EfAwumS1IotKgO7tqIh7os3jskqMNyh5OTbKp1a0slhMApXBKx6CuNC1DEeSclS7XJSlJJJWWG6UusfQRPVdIAvIZikgrSQciDl2RDk/oyVKtN+zoN1fTS7qlsldEA4yydjkUejN6GHV7uJdnkanQvH+0OV/g0U8pvq1gNZWY/McornWwJDJTU4lWJ6shuiueVFa21dZVaP0jFXMbTG5yHVSiqpL+cokuRRhErMq7TugwMYBAkmSRjFk6xJzrBKUxKXshMARNiS1B2xi+Wi+YnyboT0Jj09ZNBwAEb2euo81jE/6hyHTKXmFqR2pB7NWM5KxiuzWlU9bqOqNgYPBVsl72hbo+eJaYharWqY2zZCSS6AjeYsDR++KbakKJcRZLIglVmUqoSSNrfGE1zYDSVpGXcN4q3gDujI6Xmhc5SgCAWAfYABDv7EWYlI4l+5IMVHRSH1lKPAAeJPhGePEoO0NiAExZJSSamH8uxSk4If2lE9wYQQhRHRCU+ykDwEb2KgLREyYkukLA2i8Bx2RbaxMmKUHNCxvKJxD4B3oYtn2jasA5El26oo+3oAAdSmo7M+0nDHcILCiqVooDpL6gG7z8ouOqwSDxL/BoGXpAnBI6z/iBJlrUcT2QDoYqmKzUw7IAtNoT+YHvgOYp8YpIhgXLtAyB8IiFkxW0dCm4QCNLoHSslICJkwIUBiuiVbCFZUyMaC22hBS4XLO/nERgdJaOAKWWFukF0FwHAN07w7GmO2KEWJUslwkXkkEKSlWqrMYsd+Ih3Qqs0qbakOUrSz4pOLBmcbI6rSAGOO7OM3LSEpCQ9I8l8qxlJW7OqEnGNGkOkz1ba+OUTRpLf1eaRmQSDjXjFibRt+X+YW0r5DUo0hxHXBkm3HaBw/aMgm1HqgmTbIW0e+zYS7VBkq0Rk7NbHIAqTgBU9Qxh4bLOSkKUESk/mnrEsD+VitXAJ7IFBt0geRLtjlE4nCsA6VtxcJv44pBAL5PmcYz1s0/Zk9KbOtGV2SOZln+dTrVxhVN5YTki7Zpcqyp2y03lkb5sx1djRa00n3wR+Wou0jfSLRMQi9MNyXkuddQG3FXS6ngWz8pLJz8sBZmzCVfwUC70FEutTA4ZAx8ym89PVeWVzFH0lqJzGZy1h2wdoSzlFrkAkEkKNMtSYG/498aLT44r7MpanJJ9n1+d01e0r9RiBEctCtdXtK/UYiFQzM4cYtlzIitLiKgWpAIP51uESTMD0gSVMyMTFDAOi5RxjOcrbLzkgazNMBcgnI5CH85dGHl4ScqJoRZyouwWkUD4lvExDAxos0oEJVMUVHBIupdtjlRPZBcuzIFbr+0SfkO6BDakkhQli8HYqZw+Iimbbl5MOp/GChjdMwjosn2QB3isVTZoHSUBxMJzPUekonu7hEA0Axou2I2k8AYpVbtie0/AQEFxwqgAKXa1bhwEDzJpOJJ4mKlKiJVCCiy80VqXHL0RJhgdUqKiY6TEDAI4qKzEyYrMAHhHTWIvHQYYFyphJJepxidmS7uW8IoSYulLAFX8+ES+iodl6kNQjt8Q0RMnZHFWmjMGxqfDZFZnDLsiKN7R24N3VHbpwx2BniN98T54RfYLcZb0cHYz4ZE7o0xw3OjOc9qsKkaHmKF5bSk/mmKam0JxPYIvH2OVVRmWlX5UfhI6zVR6oEnSzMdSVGYRik9Ify59UL1Z9fdHT8MI9nO8kpdDefyqnAXZCZVmT/4ksrrmHWPbGfnzlLJUtSlk5qJJPEmLylvOwfvAsUn4iGvs9FlmLKdnYGnUQ/U7xXE5SHJ4fEd0DBDWzTBepQuOPTkZcEGJ6ML2yR7HjKmH4wApYDPUvUCp6Ss8BgM6gwXoJB+1yrwIxxrTmVN1fAiI6Ks+yT9GTL6jqdJWZ2n1YgNGTPU7T9Mej0ZFWWo0bM9TtP0x1eiln8nafpjsegCyn/pkz1O0/TF40bM2o7T9Mej0AWeXoxYpq9p+mEvKLQ01VmmJdD3XqpWN4N6Mdj0S0FmHPJ+ftle8r6IieTs/bK95X0R2PQ6HZwcnJ+2V7yvojv3cn7ZXvK+iPR6ChnPu1P2yveV9EdPJuftle8r6I9HogEyJ5NT9sr3lfRHPuzP2yvfV9Eej0BVnvu1P2yveV9ER+7M/bK99f0R6PQxNkTyYn7ZXvr/ALcQ+7E/bK99f9uPR6GkFnDyZn7ZXvq+iIfdeftle8r+3Ho9DoTOfdeftle8r+3HvuvP2yvfX9Eej0FE2d+7E/bK99X0R08l7RUvK95f0RyPQUNM6eTE/bKb2lf24irktP2yveV9Eej0KirZz7rTznK95X0RNHJi0bZXvKrxFyOR6NMbqXBMuUW/dufQgynFekqmwg3KcINlaEmTABP5sk0E1BIVX8wKGX3GPR6OhybdGdUVaU5G2iWsoKpJxLhSxQgN6FDuhcOSs/bK95X0R6PRlbTKqySOSk8nGV7y/ojU8mv9LlWlKlmcEhCkhSfzJxWym1SwLEhWNRHY9GcpsKR9BsnIGwIlgfZUKYjWUpV+j1K9u5mjJ8p9ArnaWRORcAKauSCSmUpLkBJD4dmUej0RED//2Q==">
            <a:extLst>
              <a:ext uri="{FF2B5EF4-FFF2-40B4-BE49-F238E27FC236}">
                <a16:creationId xmlns:a16="http://schemas.microsoft.com/office/drawing/2014/main" id="{9480290A-65D2-4E94-9F0A-EE42AD8CA144}"/>
              </a:ext>
            </a:extLst>
          </p:cNvPr>
          <p:cNvSpPr>
            <a:spLocks noChangeAspect="1" noChangeArrowheads="1"/>
          </p:cNvSpPr>
          <p:nvPr/>
        </p:nvSpPr>
        <p:spPr bwMode="auto">
          <a:xfrm>
            <a:off x="2305783" y="-695691"/>
            <a:ext cx="2637692" cy="1450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GB" altLang="en-US" sz="1246"/>
          </a:p>
        </p:txBody>
      </p:sp>
      <p:grpSp>
        <p:nvGrpSpPr>
          <p:cNvPr id="22538" name="Group 1">
            <a:extLst>
              <a:ext uri="{FF2B5EF4-FFF2-40B4-BE49-F238E27FC236}">
                <a16:creationId xmlns:a16="http://schemas.microsoft.com/office/drawing/2014/main" id="{FDC8A661-8C06-40D9-AD47-37D7D2099E08}"/>
              </a:ext>
            </a:extLst>
          </p:cNvPr>
          <p:cNvGrpSpPr>
            <a:grpSpLocks/>
          </p:cNvGrpSpPr>
          <p:nvPr/>
        </p:nvGrpSpPr>
        <p:grpSpPr bwMode="auto">
          <a:xfrm>
            <a:off x="159804" y="109904"/>
            <a:ext cx="7374470" cy="6592033"/>
            <a:chOff x="-2935665" y="161374"/>
            <a:chExt cx="10653133" cy="9522384"/>
          </a:xfrm>
        </p:grpSpPr>
        <p:sp>
          <p:nvSpPr>
            <p:cNvPr id="28" name="Text Placeholder 2">
              <a:extLst>
                <a:ext uri="{FF2B5EF4-FFF2-40B4-BE49-F238E27FC236}">
                  <a16:creationId xmlns:a16="http://schemas.microsoft.com/office/drawing/2014/main" id="{4E4E6DA2-22D3-4C11-AEBA-EDEBE9CD3156}"/>
                </a:ext>
              </a:extLst>
            </p:cNvPr>
            <p:cNvSpPr txBox="1">
              <a:spLocks/>
            </p:cNvSpPr>
            <p:nvPr>
              <p:custDataLst>
                <p:tags r:id="rId7"/>
              </p:custDataLst>
            </p:nvPr>
          </p:nvSpPr>
          <p:spPr>
            <a:xfrm rot="16200000">
              <a:off x="-3192123" y="2216499"/>
              <a:ext cx="2568725" cy="619720"/>
            </a:xfrm>
            <a:prstGeom prst="rect">
              <a:avLst/>
            </a:prstGeom>
            <a:solidFill>
              <a:srgbClr val="007E01"/>
            </a:solidFill>
            <a:ln>
              <a:solidFill>
                <a:srgbClr val="008000"/>
              </a:solidFill>
            </a:ln>
          </p:spPr>
          <p:txBody>
            <a:bodyPr lIns="25322" tIns="12661" rIns="25322" bIns="12661" anchor="ctr"/>
            <a:lstStyle>
              <a:lvl1pPr marL="342900" indent="-342900"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ct val="120000"/>
                </a:lnSpc>
                <a:buFont typeface="Arial" panose="020B0604020202020204" pitchFamily="34" charset="0"/>
                <a:buNone/>
                <a:defRPr/>
              </a:pPr>
              <a:r>
                <a:rPr lang="ru-RU" sz="831" b="1" dirty="0">
                  <a:solidFill>
                    <a:schemeClr val="bg1"/>
                  </a:solidFill>
                  <a:effectLst>
                    <a:outerShdw blurRad="38100" dist="38100" dir="2700000" algn="tl">
                      <a:srgbClr val="000000"/>
                    </a:outerShdw>
                  </a:effectLst>
                  <a:latin typeface="Helvetica Neue" charset="0"/>
                </a:rPr>
                <a:t>РЫНОК</a:t>
              </a:r>
              <a:endParaRPr lang="en-GB" sz="831" b="1" dirty="0">
                <a:solidFill>
                  <a:schemeClr val="bg1"/>
                </a:solidFill>
                <a:effectLst>
                  <a:outerShdw blurRad="38100" dist="38100" dir="2700000" algn="tl">
                    <a:srgbClr val="000000"/>
                  </a:outerShdw>
                </a:effectLst>
                <a:latin typeface="Helvetica Neue" charset="0"/>
              </a:endParaRPr>
            </a:p>
          </p:txBody>
        </p:sp>
        <p:sp>
          <p:nvSpPr>
            <p:cNvPr id="1036" name="TextBox 29">
              <a:extLst>
                <a:ext uri="{FF2B5EF4-FFF2-40B4-BE49-F238E27FC236}">
                  <a16:creationId xmlns:a16="http://schemas.microsoft.com/office/drawing/2014/main" id="{8880CC59-8F49-4CE4-84F2-6C1BCDB2697C}"/>
                </a:ext>
              </a:extLst>
            </p:cNvPr>
            <p:cNvSpPr txBox="1">
              <a:spLocks noChangeArrowheads="1"/>
            </p:cNvSpPr>
            <p:nvPr>
              <p:custDataLst>
                <p:tags r:id="rId8"/>
              </p:custDataLst>
            </p:nvPr>
          </p:nvSpPr>
          <p:spPr bwMode="auto">
            <a:xfrm>
              <a:off x="-1511042" y="7319201"/>
              <a:ext cx="6282398" cy="1149418"/>
            </a:xfrm>
            <a:prstGeom prst="rect">
              <a:avLst/>
            </a:prstGeom>
            <a:noFill/>
            <a:ln w="9525">
              <a:noFill/>
              <a:miter lim="800000"/>
              <a:headEnd/>
              <a:tailEnd/>
            </a:ln>
          </p:spPr>
          <p:txBody>
            <a:bodyPr lIns="0" rIns="0" anchor="ctr"/>
            <a:lstStyle/>
            <a:p>
              <a:pPr marL="118695" indent="-118695">
                <a:spcAft>
                  <a:spcPts val="277"/>
                </a:spcAft>
                <a:buFont typeface="Wingdings" pitchFamily="2" charset="2"/>
                <a:buChar char="Ø"/>
                <a:defRPr/>
              </a:pPr>
              <a:endParaRPr lang="en-US" altLang="en-US" sz="1108" dirty="0"/>
            </a:p>
          </p:txBody>
        </p:sp>
        <p:sp>
          <p:nvSpPr>
            <p:cNvPr id="31" name="Text Placeholder 2">
              <a:extLst>
                <a:ext uri="{FF2B5EF4-FFF2-40B4-BE49-F238E27FC236}">
                  <a16:creationId xmlns:a16="http://schemas.microsoft.com/office/drawing/2014/main" id="{E7FF44BF-8262-4A27-A6CB-EE6FA00DE5AC}"/>
                </a:ext>
              </a:extLst>
            </p:cNvPr>
            <p:cNvSpPr txBox="1">
              <a:spLocks/>
            </p:cNvSpPr>
            <p:nvPr>
              <p:custDataLst>
                <p:tags r:id="rId9"/>
              </p:custDataLst>
            </p:nvPr>
          </p:nvSpPr>
          <p:spPr>
            <a:xfrm rot="16200000">
              <a:off x="-2885459" y="7885961"/>
              <a:ext cx="1620932" cy="487413"/>
            </a:xfrm>
            <a:prstGeom prst="rect">
              <a:avLst/>
            </a:prstGeom>
            <a:solidFill>
              <a:srgbClr val="3366FF"/>
            </a:solidFill>
            <a:ln>
              <a:solidFill>
                <a:srgbClr val="3366FF"/>
              </a:solidFill>
            </a:ln>
          </p:spPr>
          <p:txBody>
            <a:bodyPr lIns="0" tIns="0" rIns="0" bIns="0" anchor="ctr"/>
            <a:lstStyle>
              <a:lvl1pPr marL="342900" indent="-342900"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ts val="831"/>
                </a:lnSpc>
                <a:defRPr/>
              </a:pPr>
              <a:r>
                <a:rPr lang="ru-RU" sz="831" b="1" dirty="0">
                  <a:solidFill>
                    <a:schemeClr val="bg1"/>
                  </a:solidFill>
                  <a:effectLst>
                    <a:outerShdw blurRad="38100" dist="38100" dir="2700000" algn="tl">
                      <a:srgbClr val="000000"/>
                    </a:outerShdw>
                  </a:effectLst>
                  <a:latin typeface="Helvetica Neue" charset="0"/>
                </a:rPr>
                <a:t>ИНВЕСТИЦИОННЫЕ ВОЗМОЖНОСТИ</a:t>
              </a:r>
              <a:endParaRPr lang="en-GB" sz="831" b="1" dirty="0">
                <a:solidFill>
                  <a:schemeClr val="bg1"/>
                </a:solidFill>
                <a:effectLst>
                  <a:outerShdw blurRad="38100" dist="38100" dir="2700000" algn="tl">
                    <a:srgbClr val="000000"/>
                  </a:outerShdw>
                </a:effectLst>
                <a:latin typeface="Helvetica Neue" charset="0"/>
              </a:endParaRPr>
            </a:p>
          </p:txBody>
        </p:sp>
        <p:sp>
          <p:nvSpPr>
            <p:cNvPr id="22547" name="TextBox 32">
              <a:extLst>
                <a:ext uri="{FF2B5EF4-FFF2-40B4-BE49-F238E27FC236}">
                  <a16:creationId xmlns:a16="http://schemas.microsoft.com/office/drawing/2014/main" id="{C2AB5CEF-E8C9-4565-BCB6-7E38615C578E}"/>
                </a:ext>
              </a:extLst>
            </p:cNvPr>
            <p:cNvSpPr txBox="1">
              <a:spLocks noChangeArrowheads="1"/>
            </p:cNvSpPr>
            <p:nvPr/>
          </p:nvSpPr>
          <p:spPr bwMode="auto">
            <a:xfrm>
              <a:off x="-1446544" y="1113417"/>
              <a:ext cx="9164012" cy="3289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defRPr>
                  <a:solidFill>
                    <a:schemeClr val="tx1"/>
                  </a:solidFill>
                  <a:latin typeface="Arial" panose="020B0604020202020204" pitchFamily="34" charset="0"/>
                  <a:ea typeface="ＭＳ Ｐゴシック" panose="020B0600070205080204" pitchFamily="34" charset="-128"/>
                </a:defRPr>
              </a:lvl1pPr>
              <a:lvl2pPr marL="171450" indent="-1714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1" algn="just">
                <a:spcAft>
                  <a:spcPts val="277"/>
                </a:spcAft>
                <a:buFont typeface="Arial" panose="020B0604020202020204" pitchFamily="34" charset="0"/>
                <a:buChar char="•"/>
              </a:pPr>
              <a:r>
                <a:rPr lang="ru-RU" altLang="en-US" sz="1200" dirty="0">
                  <a:latin typeface="Bookman Old Style" panose="02050604050505020204" pitchFamily="18" charset="0"/>
                </a:rPr>
                <a:t>С </a:t>
              </a:r>
              <a:r>
                <a:rPr lang="en-US" altLang="en-US" sz="1200" dirty="0">
                  <a:latin typeface="Bookman Old Style" panose="02050604050505020204" pitchFamily="18" charset="0"/>
                </a:rPr>
                <a:t>2007</a:t>
              </a:r>
              <a:r>
                <a:rPr lang="ru-RU" altLang="en-US" sz="1200" dirty="0">
                  <a:latin typeface="Bookman Old Style" panose="02050604050505020204" pitchFamily="18" charset="0"/>
                </a:rPr>
                <a:t>г объем импорта рыбной продукции возрос до </a:t>
              </a:r>
              <a:r>
                <a:rPr lang="en-US" altLang="en-US" sz="1200" dirty="0">
                  <a:latin typeface="Bookman Old Style" panose="02050604050505020204" pitchFamily="18" charset="0"/>
                </a:rPr>
                <a:t>60000</a:t>
              </a:r>
              <a:r>
                <a:rPr lang="ru-RU" altLang="en-US" sz="1200" dirty="0">
                  <a:latin typeface="Bookman Old Style" panose="02050604050505020204" pitchFamily="18" charset="0"/>
                </a:rPr>
                <a:t> </a:t>
              </a:r>
              <a:r>
                <a:rPr lang="en-US" altLang="en-US" sz="1200" dirty="0">
                  <a:latin typeface="Bookman Old Style" panose="02050604050505020204" pitchFamily="18" charset="0"/>
                </a:rPr>
                <a:t>MT</a:t>
              </a:r>
              <a:r>
                <a:rPr lang="ru-RU" altLang="en-US" sz="1200" dirty="0">
                  <a:latin typeface="Bookman Old Style" panose="02050604050505020204" pitchFamily="18" charset="0"/>
                </a:rPr>
                <a:t>,</a:t>
              </a:r>
              <a:r>
                <a:rPr lang="en-US" altLang="en-US" sz="1200" dirty="0">
                  <a:latin typeface="Bookman Old Style" panose="02050604050505020204" pitchFamily="18" charset="0"/>
                </a:rPr>
                <a:t> </a:t>
              </a:r>
              <a:r>
                <a:rPr lang="ru-RU" altLang="en-US" sz="1200" dirty="0">
                  <a:latin typeface="Bookman Old Style" panose="02050604050505020204" pitchFamily="18" charset="0"/>
                </a:rPr>
                <a:t>производство увеличилось с</a:t>
              </a:r>
              <a:r>
                <a:rPr lang="en-US" altLang="en-US" sz="1200" dirty="0">
                  <a:latin typeface="Bookman Old Style" panose="02050604050505020204" pitchFamily="18" charset="0"/>
                </a:rPr>
                <a:t> 9117 MT </a:t>
              </a:r>
              <a:r>
                <a:rPr lang="ru-RU" altLang="en-US" sz="1200" dirty="0">
                  <a:latin typeface="Bookman Old Style" panose="02050604050505020204" pitchFamily="18" charset="0"/>
                </a:rPr>
                <a:t>в</a:t>
              </a:r>
              <a:r>
                <a:rPr lang="en-US" altLang="en-US" sz="1200" dirty="0">
                  <a:latin typeface="Bookman Old Style" panose="02050604050505020204" pitchFamily="18" charset="0"/>
                </a:rPr>
                <a:t> 2007</a:t>
              </a:r>
              <a:r>
                <a:rPr lang="ru-RU" altLang="en-US" sz="1200" dirty="0">
                  <a:latin typeface="Bookman Old Style" panose="02050604050505020204" pitchFamily="18" charset="0"/>
                </a:rPr>
                <a:t>г</a:t>
              </a:r>
              <a:r>
                <a:rPr lang="en-US" altLang="en-US" sz="1200" dirty="0">
                  <a:latin typeface="Bookman Old Style" panose="02050604050505020204" pitchFamily="18" charset="0"/>
                </a:rPr>
                <a:t> </a:t>
              </a:r>
              <a:r>
                <a:rPr lang="ru-RU" altLang="en-US" sz="1200" dirty="0">
                  <a:latin typeface="Bookman Old Style" panose="02050604050505020204" pitchFamily="18" charset="0"/>
                </a:rPr>
                <a:t>до </a:t>
              </a:r>
              <a:r>
                <a:rPr lang="en-US" altLang="en-US" sz="1200" dirty="0">
                  <a:latin typeface="Bookman Old Style" panose="02050604050505020204" pitchFamily="18" charset="0"/>
                </a:rPr>
                <a:t> 30000</a:t>
              </a:r>
              <a:r>
                <a:rPr lang="ru-RU" altLang="en-US" sz="1200" dirty="0">
                  <a:latin typeface="Bookman Old Style" panose="02050604050505020204" pitchFamily="18" charset="0"/>
                </a:rPr>
                <a:t> </a:t>
              </a:r>
              <a:r>
                <a:rPr lang="en-US" altLang="en-US" sz="1200" dirty="0">
                  <a:latin typeface="Bookman Old Style" panose="02050604050505020204" pitchFamily="18" charset="0"/>
                </a:rPr>
                <a:t>MT </a:t>
              </a:r>
              <a:r>
                <a:rPr lang="ru-RU" altLang="en-US" sz="1200" dirty="0">
                  <a:latin typeface="Bookman Old Style" panose="02050604050505020204" pitchFamily="18" charset="0"/>
                </a:rPr>
                <a:t>в</a:t>
              </a:r>
              <a:r>
                <a:rPr lang="en-US" altLang="en-US" sz="1200" dirty="0">
                  <a:latin typeface="Bookman Old Style" panose="02050604050505020204" pitchFamily="18" charset="0"/>
                </a:rPr>
                <a:t> 2015</a:t>
              </a:r>
              <a:r>
                <a:rPr lang="ru-RU" altLang="en-US" sz="1200" dirty="0">
                  <a:latin typeface="Bookman Old Style" panose="02050604050505020204" pitchFamily="18" charset="0"/>
                </a:rPr>
                <a:t>.</a:t>
              </a:r>
              <a:r>
                <a:rPr lang="en-US" altLang="en-US" sz="1200" dirty="0">
                  <a:latin typeface="Bookman Old Style" panose="02050604050505020204" pitchFamily="18" charset="0"/>
                </a:rPr>
                <a:t> </a:t>
              </a:r>
            </a:p>
            <a:p>
              <a:pPr lvl="1" algn="just">
                <a:spcAft>
                  <a:spcPts val="277"/>
                </a:spcAft>
                <a:buFont typeface="Arial" panose="020B0604020202020204" pitchFamily="34" charset="0"/>
                <a:buChar char="•"/>
              </a:pPr>
              <a:r>
                <a:rPr lang="ru-RU" altLang="en-US" sz="1200" dirty="0">
                  <a:latin typeface="Bookman Old Style" panose="02050604050505020204" pitchFamily="18" charset="0"/>
                </a:rPr>
                <a:t>Планируемый </a:t>
              </a:r>
              <a:r>
                <a:rPr lang="en-US" altLang="en-US" sz="1200" dirty="0">
                  <a:latin typeface="Bookman Old Style" panose="02050604050505020204" pitchFamily="18" charset="0"/>
                </a:rPr>
                <a:t>V</a:t>
              </a:r>
              <a:r>
                <a:rPr lang="ru-RU" altLang="en-US" sz="1200" dirty="0">
                  <a:latin typeface="Bookman Old Style" panose="02050604050505020204" pitchFamily="18" charset="0"/>
                </a:rPr>
                <a:t> потребления к </a:t>
              </a:r>
              <a:r>
                <a:rPr lang="en-ZA" altLang="en-US" sz="1200" dirty="0">
                  <a:latin typeface="Bookman Old Style" panose="02050604050505020204" pitchFamily="18" charset="0"/>
                </a:rPr>
                <a:t>2020</a:t>
              </a:r>
              <a:r>
                <a:rPr lang="ru-RU" altLang="en-US" sz="1200" dirty="0">
                  <a:latin typeface="Bookman Old Style" panose="02050604050505020204" pitchFamily="18" charset="0"/>
                </a:rPr>
                <a:t>г – </a:t>
              </a:r>
              <a:r>
                <a:rPr lang="en-ZA" altLang="en-US" sz="1200" dirty="0">
                  <a:latin typeface="Bookman Old Style" panose="02050604050505020204" pitchFamily="18" charset="0"/>
                </a:rPr>
                <a:t>155000</a:t>
              </a:r>
              <a:r>
                <a:rPr lang="ru-RU" altLang="en-US" sz="1200" dirty="0">
                  <a:latin typeface="Bookman Old Style" panose="02050604050505020204" pitchFamily="18" charset="0"/>
                </a:rPr>
                <a:t> </a:t>
              </a:r>
              <a:r>
                <a:rPr lang="en-ZA" altLang="en-US" sz="1200" dirty="0">
                  <a:latin typeface="Bookman Old Style" panose="02050604050505020204" pitchFamily="18" charset="0"/>
                </a:rPr>
                <a:t>MT</a:t>
              </a:r>
              <a:r>
                <a:rPr lang="ru-RU" altLang="en-US" sz="1200" dirty="0">
                  <a:latin typeface="Bookman Old Style" panose="02050604050505020204" pitchFamily="18" charset="0"/>
                </a:rPr>
                <a:t>.</a:t>
              </a:r>
              <a:endParaRPr lang="en-ZA" altLang="en-US" sz="1200" dirty="0">
                <a:latin typeface="Bookman Old Style" panose="02050604050505020204" pitchFamily="18" charset="0"/>
              </a:endParaRPr>
            </a:p>
            <a:p>
              <a:pPr algn="just">
                <a:spcAft>
                  <a:spcPts val="277"/>
                </a:spcAft>
                <a:buFont typeface="Arial" panose="020B0604020202020204" pitchFamily="34" charset="0"/>
                <a:buChar char="•"/>
              </a:pPr>
              <a:r>
                <a:rPr lang="ru-RU" altLang="en-US" sz="1200" dirty="0">
                  <a:latin typeface="Bookman Old Style" panose="02050604050505020204" pitchFamily="18" charset="0"/>
                </a:rPr>
                <a:t>Потребление рыбы и морепродуктов в ВАС регионе также ежегодно растет, при этом спрос превышает предложение. Руанда планирует стать торгово-транспортным центром в регионе с </a:t>
              </a:r>
              <a:r>
                <a:rPr lang="ru-RU" altLang="en-US" sz="1200" dirty="0" err="1">
                  <a:latin typeface="Bookman Old Style" panose="02050604050505020204" pitchFamily="18" charset="0"/>
                </a:rPr>
                <a:t>потр</a:t>
              </a:r>
              <a:r>
                <a:rPr lang="ru-RU" altLang="en-US" sz="1200" dirty="0">
                  <a:latin typeface="Bookman Old Style" panose="02050604050505020204" pitchFamily="18" charset="0"/>
                </a:rPr>
                <a:t>. рынком 125М чел.</a:t>
              </a:r>
            </a:p>
            <a:p>
              <a:pPr algn="just">
                <a:spcAft>
                  <a:spcPts val="277"/>
                </a:spcAft>
                <a:buFont typeface="Arial" panose="020B0604020202020204" pitchFamily="34" charset="0"/>
                <a:buChar char="•"/>
              </a:pPr>
              <a:r>
                <a:rPr lang="ru-RU" altLang="en-US" sz="1200" dirty="0">
                  <a:latin typeface="Bookman Old Style" panose="02050604050505020204" pitchFamily="18" charset="0"/>
                </a:rPr>
                <a:t>На руандийском рынке преобладает тиляпия (</a:t>
              </a:r>
              <a:r>
                <a:rPr lang="en-US" altLang="en-US" sz="1200" dirty="0">
                  <a:latin typeface="Bookman Old Style" panose="02050604050505020204" pitchFamily="18" charset="0"/>
                </a:rPr>
                <a:t>90%), 5% </a:t>
              </a:r>
              <a:r>
                <a:rPr lang="ru-RU" altLang="en-US" sz="1200" dirty="0">
                  <a:latin typeface="Bookman Old Style" panose="02050604050505020204" pitchFamily="18" charset="0"/>
                </a:rPr>
                <a:t>- </a:t>
              </a:r>
              <a:r>
                <a:rPr lang="ru-RU" altLang="en-US" sz="1200" dirty="0" err="1">
                  <a:latin typeface="Bookman Old Style" panose="02050604050505020204" pitchFamily="18" charset="0"/>
                </a:rPr>
                <a:t>самбаза</a:t>
              </a:r>
              <a:r>
                <a:rPr lang="ru-RU" altLang="en-US" sz="1200" dirty="0">
                  <a:latin typeface="Bookman Old Style" panose="02050604050505020204" pitchFamily="18" charset="0"/>
                </a:rPr>
                <a:t> (местная рыба из </a:t>
              </a:r>
              <a:r>
                <a:rPr lang="ru-RU" altLang="en-US" sz="1200" dirty="0" err="1">
                  <a:latin typeface="Bookman Old Style" panose="02050604050505020204" pitchFamily="18" charset="0"/>
                </a:rPr>
                <a:t>о.Киву</a:t>
              </a:r>
              <a:r>
                <a:rPr lang="ru-RU" altLang="en-US" sz="1200" dirty="0">
                  <a:latin typeface="Bookman Old Style" panose="02050604050505020204" pitchFamily="18" charset="0"/>
                </a:rPr>
                <a:t>) </a:t>
              </a:r>
              <a:r>
                <a:rPr lang="en-US" altLang="en-US" sz="1200" dirty="0">
                  <a:latin typeface="Bookman Old Style" panose="02050604050505020204" pitchFamily="18" charset="0"/>
                </a:rPr>
                <a:t> </a:t>
              </a:r>
              <a:r>
                <a:rPr lang="ru-RU" altLang="en-US" sz="1200" dirty="0">
                  <a:latin typeface="Bookman Old Style" panose="02050604050505020204" pitchFamily="18" charset="0"/>
                </a:rPr>
                <a:t>и</a:t>
              </a:r>
              <a:r>
                <a:rPr lang="en-US" altLang="en-US" sz="1200" dirty="0">
                  <a:latin typeface="Bookman Old Style" panose="02050604050505020204" pitchFamily="18" charset="0"/>
                </a:rPr>
                <a:t> 5% </a:t>
              </a:r>
              <a:r>
                <a:rPr lang="ru-RU" altLang="en-US" sz="1200" dirty="0">
                  <a:latin typeface="Bookman Old Style" panose="02050604050505020204" pitchFamily="18" charset="0"/>
                </a:rPr>
                <a:t>- другие виды (напр., сом или зубатка)</a:t>
              </a:r>
              <a:r>
                <a:rPr lang="en-US" altLang="en-US" sz="1200" dirty="0">
                  <a:latin typeface="Bookman Old Style" panose="02050604050505020204" pitchFamily="18" charset="0"/>
                </a:rPr>
                <a:t>. </a:t>
              </a:r>
            </a:p>
            <a:p>
              <a:pPr algn="just">
                <a:spcAft>
                  <a:spcPts val="277"/>
                </a:spcAft>
                <a:buFont typeface="Arial" panose="020B0604020202020204" pitchFamily="34" charset="0"/>
                <a:buChar char="•"/>
              </a:pPr>
              <a:r>
                <a:rPr lang="ru-RU" altLang="en-US" sz="1200" dirty="0">
                  <a:latin typeface="Bookman Old Style" panose="02050604050505020204" pitchFamily="18" charset="0"/>
                </a:rPr>
                <a:t>Руанда быстро приобретает статус распределительного регионального центра благодаря чрезвычайно благоприятному деловому климату и отсутствию коррупции</a:t>
              </a:r>
              <a:endParaRPr lang="en-US" altLang="en-US" sz="1200" dirty="0">
                <a:latin typeface="Bookman Old Style" panose="02050604050505020204" pitchFamily="18" charset="0"/>
              </a:endParaRPr>
            </a:p>
          </p:txBody>
        </p:sp>
        <p:sp>
          <p:nvSpPr>
            <p:cNvPr id="3087" name="TextBox 33">
              <a:extLst>
                <a:ext uri="{FF2B5EF4-FFF2-40B4-BE49-F238E27FC236}">
                  <a16:creationId xmlns:a16="http://schemas.microsoft.com/office/drawing/2014/main" id="{281E87E4-BFDC-4C51-B68A-E30CCD5E9D47}"/>
                </a:ext>
              </a:extLst>
            </p:cNvPr>
            <p:cNvSpPr txBox="1">
              <a:spLocks noChangeArrowheads="1"/>
            </p:cNvSpPr>
            <p:nvPr/>
          </p:nvSpPr>
          <p:spPr bwMode="auto">
            <a:xfrm>
              <a:off x="-1446545" y="4403400"/>
              <a:ext cx="7708657" cy="2718033"/>
            </a:xfrm>
            <a:prstGeom prst="rect">
              <a:avLst/>
            </a:prstGeom>
            <a:noFill/>
            <a:ln w="9525">
              <a:noFill/>
              <a:miter lim="800000"/>
              <a:headEnd/>
              <a:tailEnd/>
            </a:ln>
          </p:spPr>
          <p:txBody>
            <a:bodyPr wrap="square">
              <a:spAutoFit/>
            </a:bodyPr>
            <a:lstStyle/>
            <a:p>
              <a:pPr marL="118695" indent="-118695" algn="just">
                <a:spcAft>
                  <a:spcPts val="277"/>
                </a:spcAft>
                <a:buFont typeface="Wingdings" pitchFamily="2" charset="2"/>
                <a:buChar char="§"/>
                <a:defRPr/>
              </a:pPr>
              <a:r>
                <a:rPr lang="ru-RU" sz="1100" dirty="0">
                  <a:latin typeface="Bookman Old Style" pitchFamily="18" charset="0"/>
                </a:rPr>
                <a:t>Благоприятный климат, наличие водных ресурсов </a:t>
              </a:r>
              <a:endParaRPr lang="en-US" sz="1100" dirty="0">
                <a:latin typeface="Bookman Old Style" pitchFamily="18" charset="0"/>
              </a:endParaRPr>
            </a:p>
            <a:p>
              <a:pPr marL="118695" indent="-118695" algn="just">
                <a:spcAft>
                  <a:spcPts val="277"/>
                </a:spcAft>
                <a:buFont typeface="Wingdings" pitchFamily="2" charset="2"/>
                <a:buChar char="§"/>
                <a:defRPr/>
              </a:pPr>
              <a:r>
                <a:rPr lang="ru-RU" altLang="en-US" sz="1100" dirty="0">
                  <a:latin typeface="Bookman Old Style" pitchFamily="18" charset="0"/>
                </a:rPr>
                <a:t>Водная площадь - </a:t>
              </a:r>
              <a:r>
                <a:rPr lang="en-US" altLang="en-US" sz="1100" dirty="0">
                  <a:latin typeface="Bookman Old Style" pitchFamily="18" charset="0"/>
                </a:rPr>
                <a:t>8%</a:t>
              </a:r>
              <a:r>
                <a:rPr lang="ru-RU" altLang="en-US" sz="1100" dirty="0">
                  <a:latin typeface="Bookman Old Style" pitchFamily="18" charset="0"/>
                </a:rPr>
                <a:t> территории страны</a:t>
              </a:r>
              <a:r>
                <a:rPr lang="en-US" altLang="en-US" sz="1100" dirty="0">
                  <a:latin typeface="Bookman Old Style" pitchFamily="18" charset="0"/>
                </a:rPr>
                <a:t>: </a:t>
              </a:r>
              <a:r>
                <a:rPr lang="ru-RU" altLang="en-US" sz="1100" dirty="0">
                  <a:latin typeface="Bookman Old Style" pitchFamily="18" charset="0"/>
                </a:rPr>
                <a:t>озера - </a:t>
              </a:r>
              <a:r>
                <a:rPr lang="en-US" altLang="en-US" sz="1100" dirty="0">
                  <a:latin typeface="Bookman Old Style" pitchFamily="18" charset="0"/>
                </a:rPr>
                <a:t> 128000</a:t>
              </a:r>
              <a:r>
                <a:rPr lang="ru-RU" altLang="en-US" sz="1100" dirty="0">
                  <a:latin typeface="Bookman Old Style" pitchFamily="18" charset="0"/>
                </a:rPr>
                <a:t>Га</a:t>
              </a:r>
              <a:r>
                <a:rPr lang="en-US" altLang="en-US" sz="1100" dirty="0">
                  <a:latin typeface="Bookman Old Style" pitchFamily="18" charset="0"/>
                </a:rPr>
                <a:t>, </a:t>
              </a:r>
              <a:r>
                <a:rPr lang="ru-RU" altLang="en-US" sz="1100" dirty="0">
                  <a:latin typeface="Bookman Old Style" pitchFamily="18" charset="0"/>
                </a:rPr>
                <a:t>реки - </a:t>
              </a:r>
              <a:r>
                <a:rPr lang="en-US" altLang="en-US" sz="1100" dirty="0">
                  <a:latin typeface="Bookman Old Style" pitchFamily="18" charset="0"/>
                </a:rPr>
                <a:t>7260</a:t>
              </a:r>
              <a:r>
                <a:rPr lang="ru-RU" altLang="en-US" sz="1100" dirty="0">
                  <a:latin typeface="Bookman Old Style" pitchFamily="18" charset="0"/>
                </a:rPr>
                <a:t>Га, влажные болотистые земли и долины - </a:t>
              </a:r>
              <a:r>
                <a:rPr lang="en-US" altLang="en-US" sz="1100" dirty="0">
                  <a:latin typeface="Bookman Old Style" pitchFamily="18" charset="0"/>
                </a:rPr>
                <a:t>77000</a:t>
              </a:r>
              <a:r>
                <a:rPr lang="ru-RU" altLang="en-US" sz="1100" dirty="0">
                  <a:latin typeface="Bookman Old Style" pitchFamily="18" charset="0"/>
                </a:rPr>
                <a:t>Га</a:t>
              </a:r>
              <a:r>
                <a:rPr lang="en-US" altLang="en-US" sz="1100" dirty="0">
                  <a:latin typeface="Bookman Old Style" pitchFamily="18" charset="0"/>
                </a:rPr>
                <a:t>. </a:t>
              </a:r>
            </a:p>
            <a:p>
              <a:pPr marL="118695" indent="-118695" algn="just">
                <a:spcAft>
                  <a:spcPts val="277"/>
                </a:spcAft>
                <a:buFont typeface="Arial" panose="020B0604020202020204" pitchFamily="34" charset="0"/>
                <a:buChar char="•"/>
                <a:defRPr/>
              </a:pPr>
              <a:r>
                <a:rPr lang="ru-RU" altLang="en-US" sz="1100" dirty="0">
                  <a:latin typeface="Bookman Old Style" pitchFamily="18" charset="0"/>
                </a:rPr>
                <a:t>Более</a:t>
              </a:r>
              <a:r>
                <a:rPr lang="en-US" altLang="en-US" sz="1100" dirty="0">
                  <a:latin typeface="Bookman Old Style" pitchFamily="18" charset="0"/>
                </a:rPr>
                <a:t> 25 </a:t>
              </a:r>
              <a:r>
                <a:rPr lang="ru-RU" altLang="en-US" sz="1100" dirty="0">
                  <a:latin typeface="Bookman Old Style" pitchFamily="18" charset="0"/>
                </a:rPr>
                <a:t>озер</a:t>
              </a:r>
              <a:r>
                <a:rPr lang="en-US" altLang="en-US" sz="1100" dirty="0">
                  <a:latin typeface="Bookman Old Style" pitchFamily="18" charset="0"/>
                </a:rPr>
                <a:t>, </a:t>
              </a:r>
              <a:r>
                <a:rPr lang="ru-RU" altLang="en-US" sz="1100" dirty="0">
                  <a:latin typeface="Bookman Old Style" pitchFamily="18" charset="0"/>
                </a:rPr>
                <a:t>в основном, в Восточной провинции. Самое большое - </a:t>
              </a:r>
              <a:r>
                <a:rPr lang="ru-RU" altLang="en-US" sz="1100" dirty="0" err="1">
                  <a:latin typeface="Bookman Old Style" pitchFamily="18" charset="0"/>
                </a:rPr>
                <a:t>о.Киву</a:t>
              </a:r>
              <a:r>
                <a:rPr lang="ru-RU" altLang="en-US" sz="1100" dirty="0">
                  <a:latin typeface="Bookman Old Style" pitchFamily="18" charset="0"/>
                </a:rPr>
                <a:t> (</a:t>
              </a:r>
              <a:r>
                <a:rPr lang="en-US" altLang="en-US" sz="1100" dirty="0">
                  <a:latin typeface="Bookman Old Style" pitchFamily="18" charset="0"/>
                </a:rPr>
                <a:t>2700 </a:t>
              </a:r>
              <a:r>
                <a:rPr lang="ru-RU" altLang="en-US" sz="1100" dirty="0">
                  <a:latin typeface="Bookman Old Style" panose="02050604050505020204" pitchFamily="18" charset="0"/>
                </a:rPr>
                <a:t>км</a:t>
              </a:r>
              <a:r>
                <a:rPr lang="en-ZA" sz="1100" baseline="30000" dirty="0">
                  <a:latin typeface="Bookman Old Style" panose="02050604050505020204" pitchFamily="18" charset="0"/>
                </a:rPr>
                <a:t>2</a:t>
              </a:r>
              <a:r>
                <a:rPr lang="ru-RU" sz="1100" dirty="0">
                  <a:latin typeface="Bookman Old Style" panose="02050604050505020204" pitchFamily="18" charset="0"/>
                </a:rPr>
                <a:t>), обладает лучшими условиями для разведения рыбы в резервуарах: температура – </a:t>
              </a:r>
              <a:r>
                <a:rPr lang="en-ZA" sz="1100" dirty="0">
                  <a:latin typeface="Bookman Old Style" panose="02050604050505020204" pitchFamily="18" charset="0"/>
                </a:rPr>
                <a:t>25</a:t>
              </a:r>
              <a:r>
                <a:rPr lang="en-ZA" sz="1100" baseline="30000" dirty="0">
                  <a:latin typeface="Bookman Old Style" panose="02050604050505020204" pitchFamily="18" charset="0"/>
                </a:rPr>
                <a:t>0</a:t>
              </a:r>
              <a:r>
                <a:rPr lang="en-ZA" sz="1100" dirty="0">
                  <a:latin typeface="Bookman Old Style" panose="02050604050505020204" pitchFamily="18" charset="0"/>
                </a:rPr>
                <a:t>C </a:t>
              </a:r>
              <a:r>
                <a:rPr lang="ru-RU" sz="1100" dirty="0">
                  <a:latin typeface="Bookman Old Style" panose="02050604050505020204" pitchFamily="18" charset="0"/>
                </a:rPr>
                <a:t>круглый год, с концентрацией растворенного кислорода </a:t>
              </a:r>
              <a:r>
                <a:rPr lang="en-ZA" sz="1100" dirty="0">
                  <a:latin typeface="Bookman Old Style" panose="02050604050505020204" pitchFamily="18" charset="0"/>
                </a:rPr>
                <a:t>8</a:t>
              </a:r>
              <a:r>
                <a:rPr lang="ru-RU" sz="1100" dirty="0">
                  <a:latin typeface="Bookman Old Style" panose="02050604050505020204" pitchFamily="18" charset="0"/>
                </a:rPr>
                <a:t> </a:t>
              </a:r>
              <a:r>
                <a:rPr lang="en-ZA" sz="1100" dirty="0">
                  <a:latin typeface="Bookman Old Style" panose="02050604050505020204" pitchFamily="18" charset="0"/>
                </a:rPr>
                <a:t>ppm</a:t>
              </a:r>
              <a:r>
                <a:rPr lang="ru-RU" sz="1100" dirty="0">
                  <a:latin typeface="Bookman Old Style" panose="02050604050505020204" pitchFamily="18" charset="0"/>
                </a:rPr>
                <a:t> (промилле) на глубине</a:t>
              </a:r>
              <a:r>
                <a:rPr lang="en-ZA" sz="1100" dirty="0">
                  <a:latin typeface="Bookman Old Style" panose="02050604050505020204" pitchFamily="18" charset="0"/>
                </a:rPr>
                <a:t>10</a:t>
              </a:r>
              <a:r>
                <a:rPr lang="ru-RU" sz="1100" dirty="0">
                  <a:latin typeface="Bookman Old Style" panose="02050604050505020204" pitchFamily="18" charset="0"/>
                </a:rPr>
                <a:t>м.</a:t>
              </a:r>
              <a:endParaRPr lang="en-ZA" sz="1100" dirty="0">
                <a:latin typeface="Bookman Old Style" panose="02050604050505020204" pitchFamily="18" charset="0"/>
              </a:endParaRPr>
            </a:p>
            <a:p>
              <a:pPr marL="118695" indent="-118695" algn="just">
                <a:spcAft>
                  <a:spcPts val="277"/>
                </a:spcAft>
                <a:buFont typeface="Arial" panose="020B0604020202020204" pitchFamily="34" charset="0"/>
                <a:buChar char="•"/>
                <a:defRPr/>
              </a:pPr>
              <a:r>
                <a:rPr lang="ru-RU" sz="1100" dirty="0">
                  <a:latin typeface="Bookman Old Style" panose="02050604050505020204" pitchFamily="18" charset="0"/>
                </a:rPr>
                <a:t>Ср. производительность – </a:t>
              </a:r>
              <a:r>
                <a:rPr lang="en-ZA" sz="1100" dirty="0">
                  <a:latin typeface="Bookman Old Style" panose="02050604050505020204" pitchFamily="18" charset="0"/>
                </a:rPr>
                <a:t>1</a:t>
              </a:r>
              <a:r>
                <a:rPr lang="ru-RU" sz="1100" dirty="0">
                  <a:latin typeface="Bookman Old Style" panose="02050604050505020204" pitchFamily="18" charset="0"/>
                </a:rPr>
                <a:t>Т</a:t>
              </a:r>
              <a:r>
                <a:rPr lang="en-ZA" sz="1100" dirty="0">
                  <a:latin typeface="Bookman Old Style" panose="02050604050505020204" pitchFamily="18" charset="0"/>
                </a:rPr>
                <a:t>/</a:t>
              </a:r>
              <a:r>
                <a:rPr lang="ru-RU" sz="1100" dirty="0">
                  <a:latin typeface="Bookman Old Style" panose="02050604050505020204" pitchFamily="18" charset="0"/>
                </a:rPr>
                <a:t>резервуар размером </a:t>
              </a:r>
              <a:r>
                <a:rPr lang="en-ZA" sz="1100" dirty="0">
                  <a:latin typeface="Bookman Old Style" panose="02050604050505020204" pitchFamily="18" charset="0"/>
                </a:rPr>
                <a:t>8</a:t>
              </a:r>
              <a:r>
                <a:rPr lang="ru-RU" sz="1100" dirty="0">
                  <a:latin typeface="Bookman Old Style" panose="02050604050505020204" pitchFamily="18" charset="0"/>
                </a:rPr>
                <a:t>м</a:t>
              </a:r>
              <a:r>
                <a:rPr lang="ru-RU" sz="1100" baseline="30000" dirty="0">
                  <a:latin typeface="Bookman Old Style" panose="02050604050505020204" pitchFamily="18" charset="0"/>
                </a:rPr>
                <a:t>3</a:t>
              </a:r>
              <a:r>
                <a:rPr lang="ru-RU" sz="1100" dirty="0">
                  <a:latin typeface="Bookman Old Style" panose="02050604050505020204" pitchFamily="18" charset="0"/>
                </a:rPr>
                <a:t>, максимум – </a:t>
              </a:r>
              <a:r>
                <a:rPr lang="en-ZA" sz="1100" dirty="0">
                  <a:latin typeface="Bookman Old Style" panose="02050604050505020204" pitchFamily="18" charset="0"/>
                </a:rPr>
                <a:t>1</a:t>
              </a:r>
              <a:r>
                <a:rPr lang="ru-RU" sz="1100" dirty="0">
                  <a:latin typeface="Bookman Old Style" panose="02050604050505020204" pitchFamily="18" charset="0"/>
                </a:rPr>
                <a:t>,</a:t>
              </a:r>
              <a:r>
                <a:rPr lang="en-ZA" sz="1100" dirty="0">
                  <a:latin typeface="Bookman Old Style" panose="02050604050505020204" pitchFamily="18" charset="0"/>
                </a:rPr>
                <a:t>5</a:t>
              </a:r>
              <a:r>
                <a:rPr lang="ru-RU" sz="1100" dirty="0">
                  <a:latin typeface="Bookman Old Style" panose="02050604050505020204" pitchFamily="18" charset="0"/>
                </a:rPr>
                <a:t>Т</a:t>
              </a:r>
              <a:r>
                <a:rPr lang="en-ZA" sz="1100" dirty="0">
                  <a:latin typeface="Bookman Old Style" panose="02050604050505020204" pitchFamily="18" charset="0"/>
                </a:rPr>
                <a:t>/</a:t>
              </a:r>
              <a:r>
                <a:rPr lang="ru-RU" sz="1100" dirty="0">
                  <a:latin typeface="Bookman Old Style" panose="02050604050505020204" pitchFamily="18" charset="0"/>
                </a:rPr>
                <a:t>резервуар.</a:t>
              </a:r>
              <a:endParaRPr lang="en-ZA" sz="1100" dirty="0">
                <a:latin typeface="Bookman Old Style" panose="02050604050505020204" pitchFamily="18" charset="0"/>
              </a:endParaRPr>
            </a:p>
            <a:p>
              <a:pPr marL="118695" indent="-118695">
                <a:buFont typeface="Arial" panose="020B0604020202020204" pitchFamily="34" charset="0"/>
                <a:buChar char="•"/>
                <a:defRPr/>
              </a:pPr>
              <a:endParaRPr lang="en-ZA" sz="727" dirty="0">
                <a:latin typeface="Bookman Old Style" panose="02050604050505020204" pitchFamily="18" charset="0"/>
              </a:endParaRPr>
            </a:p>
          </p:txBody>
        </p:sp>
        <p:sp>
          <p:nvSpPr>
            <p:cNvPr id="41" name="TextBox 40">
              <a:extLst>
                <a:ext uri="{FF2B5EF4-FFF2-40B4-BE49-F238E27FC236}">
                  <a16:creationId xmlns:a16="http://schemas.microsoft.com/office/drawing/2014/main" id="{D1E12678-4D70-42DB-BDC7-19C2D2F11449}"/>
                </a:ext>
              </a:extLst>
            </p:cNvPr>
            <p:cNvSpPr txBox="1"/>
            <p:nvPr>
              <p:custDataLst>
                <p:tags r:id="rId10"/>
              </p:custDataLst>
            </p:nvPr>
          </p:nvSpPr>
          <p:spPr>
            <a:xfrm>
              <a:off x="-1707979" y="161374"/>
              <a:ext cx="8575517" cy="718201"/>
            </a:xfrm>
            <a:prstGeom prst="rect">
              <a:avLst/>
            </a:prstGeom>
            <a:solidFill>
              <a:schemeClr val="accent3"/>
            </a:solidFill>
            <a:ln>
              <a:solidFill>
                <a:schemeClr val="accent1">
                  <a:shade val="50000"/>
                </a:schemeClr>
              </a:solidFill>
            </a:ln>
          </p:spPr>
          <p:txBody>
            <a:bodyPr wrap="square">
              <a:spAutoFit/>
            </a:bodyPr>
            <a:lstStyle/>
            <a:p>
              <a:pPr algn="ctr" eaLnBrk="1" hangingPunct="1">
                <a:defRPr/>
              </a:pPr>
              <a:r>
                <a:rPr lang="ru-RU" sz="1385" b="1" dirty="0">
                  <a:solidFill>
                    <a:srgbClr val="007E01"/>
                  </a:solidFill>
                  <a:latin typeface="+mj-lt"/>
                  <a:ea typeface="ＭＳ Ｐゴシック" charset="0"/>
                  <a:cs typeface="Palatino"/>
                </a:rPr>
                <a:t>РУАНДА</a:t>
              </a:r>
              <a:endParaRPr lang="en-GB" sz="1385" b="1" dirty="0">
                <a:solidFill>
                  <a:srgbClr val="007E01"/>
                </a:solidFill>
                <a:latin typeface="+mj-lt"/>
                <a:ea typeface="ＭＳ Ｐゴシック" charset="0"/>
                <a:cs typeface="Palatino"/>
              </a:endParaRPr>
            </a:p>
            <a:p>
              <a:pPr algn="ctr" eaLnBrk="1" hangingPunct="1">
                <a:defRPr/>
              </a:pPr>
              <a:r>
                <a:rPr lang="ru-RU" sz="1246" b="1" dirty="0">
                  <a:latin typeface="+mj-lt"/>
                  <a:ea typeface="MS PGothic" pitchFamily="34" charset="-128"/>
                </a:rPr>
                <a:t>ИНВЕСТИЦИОННЫЕ ВОЗМОЖНОСТИ</a:t>
              </a:r>
              <a:r>
                <a:rPr lang="en-US" sz="1108" b="1" dirty="0">
                  <a:latin typeface="+mj-lt"/>
                  <a:ea typeface="MS PGothic" pitchFamily="34" charset="-128"/>
                </a:rPr>
                <a:t>: </a:t>
              </a:r>
              <a:r>
                <a:rPr lang="ru-RU" sz="1108" b="1" dirty="0">
                  <a:latin typeface="+mj-lt"/>
                  <a:ea typeface="MS PGothic" pitchFamily="34" charset="-128"/>
                </a:rPr>
                <a:t>РЫБА И МОРЕПРОДУКТЫ</a:t>
              </a:r>
              <a:endParaRPr lang="en-GB" sz="1108" b="1" i="1" cap="all" dirty="0">
                <a:latin typeface="+mj-lt"/>
                <a:ea typeface="ＭＳ Ｐゴシック" charset="0"/>
                <a:cs typeface="Palatino"/>
              </a:endParaRPr>
            </a:p>
          </p:txBody>
        </p:sp>
        <p:sp>
          <p:nvSpPr>
            <p:cNvPr id="22550" name="Text Placeholder 2">
              <a:extLst>
                <a:ext uri="{FF2B5EF4-FFF2-40B4-BE49-F238E27FC236}">
                  <a16:creationId xmlns:a16="http://schemas.microsoft.com/office/drawing/2014/main" id="{A7972F2F-4468-4611-B1EC-0F1A699C2029}"/>
                </a:ext>
              </a:extLst>
            </p:cNvPr>
            <p:cNvSpPr txBox="1">
              <a:spLocks/>
            </p:cNvSpPr>
            <p:nvPr>
              <p:custDataLst>
                <p:tags r:id="rId11"/>
              </p:custDataLst>
            </p:nvPr>
          </p:nvSpPr>
          <p:spPr bwMode="auto">
            <a:xfrm rot="16200000">
              <a:off x="-2932666" y="5314281"/>
              <a:ext cx="1939737" cy="509639"/>
            </a:xfrm>
            <a:prstGeom prst="rect">
              <a:avLst/>
            </a:prstGeom>
            <a:solidFill>
              <a:srgbClr val="FFFF66"/>
            </a:solidFill>
            <a:ln w="9525">
              <a:solidFill>
                <a:srgbClr val="FFFF66"/>
              </a:solidFill>
              <a:miter lim="800000"/>
              <a:headEnd/>
              <a:tailEnd/>
            </a:ln>
          </p:spPr>
          <p:txBody>
            <a:bodyPr lIns="25322" tIns="12661" rIns="25322" bIns="12661" anchor="ctr"/>
            <a:lstStyle>
              <a:lvl1pPr marL="342900" indent="-34290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eaLnBrk="1" hangingPunct="1">
                <a:lnSpc>
                  <a:spcPct val="120000"/>
                </a:lnSpc>
                <a:buFont typeface="Arial" panose="020B0604020202020204" pitchFamily="34" charset="0"/>
                <a:buNone/>
              </a:pPr>
              <a:r>
                <a:rPr lang="ru-RU" altLang="en-US" sz="831" b="1" dirty="0">
                  <a:latin typeface="Helvetica Neue" charset="0"/>
                </a:rPr>
                <a:t>ПРЕИМУЩЕСТВА</a:t>
              </a:r>
              <a:endParaRPr lang="en-GB" altLang="en-US" sz="831" b="1" dirty="0">
                <a:latin typeface="Helvetica Neue" charset="0"/>
              </a:endParaRPr>
            </a:p>
          </p:txBody>
        </p:sp>
        <p:pic>
          <p:nvPicPr>
            <p:cNvPr id="22555" name="Picture 9" descr="RWAN0001.GIF">
              <a:extLst>
                <a:ext uri="{FF2B5EF4-FFF2-40B4-BE49-F238E27FC236}">
                  <a16:creationId xmlns:a16="http://schemas.microsoft.com/office/drawing/2014/main" id="{80D34B0E-4E6E-490B-8241-F4A4FF9177CA}"/>
                </a:ext>
              </a:extLst>
            </p:cNvPr>
            <p:cNvPicPr>
              <a:picLocks noChangeAspect="1"/>
            </p:cNvPicPr>
            <p:nvPr>
              <p:custDataLst>
                <p:tags r:id="rId12"/>
              </p:custDataLst>
            </p:nvPr>
          </p:nvPicPr>
          <p:blipFill>
            <a:blip r:embed="rId18">
              <a:extLst>
                <a:ext uri="{28A0092B-C50C-407E-A947-70E740481C1C}">
                  <a14:useLocalDpi xmlns:a14="http://schemas.microsoft.com/office/drawing/2010/main" val="0"/>
                </a:ext>
              </a:extLst>
            </a:blip>
            <a:srcRect/>
            <a:stretch>
              <a:fillRect/>
            </a:stretch>
          </p:blipFill>
          <p:spPr bwMode="auto">
            <a:xfrm>
              <a:off x="-2935665" y="9177609"/>
              <a:ext cx="754563" cy="506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52" name="TextBox 24">
              <a:extLst>
                <a:ext uri="{FF2B5EF4-FFF2-40B4-BE49-F238E27FC236}">
                  <a16:creationId xmlns:a16="http://schemas.microsoft.com/office/drawing/2014/main" id="{7F95E6C9-68CA-4CB4-943F-FA7AD4F4CC7D}"/>
                </a:ext>
              </a:extLst>
            </p:cNvPr>
            <p:cNvSpPr txBox="1">
              <a:spLocks noChangeArrowheads="1"/>
            </p:cNvSpPr>
            <p:nvPr/>
          </p:nvSpPr>
          <p:spPr bwMode="auto">
            <a:xfrm>
              <a:off x="-1773597" y="7223683"/>
              <a:ext cx="8035709" cy="1730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just">
                <a:spcAft>
                  <a:spcPts val="692"/>
                </a:spcAft>
                <a:buFont typeface="Arial" panose="020B0604020202020204" pitchFamily="34" charset="0"/>
                <a:buChar char="•"/>
              </a:pPr>
              <a:r>
                <a:rPr lang="ru-RU" altLang="en-US" sz="1100" dirty="0">
                  <a:latin typeface="Bookman Old Style" panose="02050604050505020204" pitchFamily="18" charset="0"/>
                </a:rPr>
                <a:t>Рыбная промышленность в стадии зарождения, развивается быстрыми темпами</a:t>
              </a:r>
              <a:r>
                <a:rPr lang="en-GB" altLang="en-US" sz="1100" dirty="0">
                  <a:latin typeface="Bookman Old Style" panose="02050604050505020204" pitchFamily="18" charset="0"/>
                </a:rPr>
                <a:t>. </a:t>
              </a:r>
              <a:r>
                <a:rPr lang="ru-RU" altLang="en-US" sz="1100" dirty="0">
                  <a:latin typeface="Bookman Old Style" panose="02050604050505020204" pitchFamily="18" charset="0"/>
                </a:rPr>
                <a:t>Рыбные кооперативы</a:t>
              </a:r>
              <a:r>
                <a:rPr lang="en-GB" altLang="en-US" sz="1100" dirty="0">
                  <a:latin typeface="Bookman Old Style" panose="02050604050505020204" pitchFamily="18" charset="0"/>
                </a:rPr>
                <a:t>: Rwanda Fish Industry, Lakeside Fish Farm, SOPICAKI Ltd, Fine Fish Ltd </a:t>
              </a:r>
              <a:r>
                <a:rPr lang="ru-RU" altLang="en-US" sz="1100" dirty="0">
                  <a:latin typeface="Bookman Old Style" panose="02050604050505020204" pitchFamily="18" charset="0"/>
                </a:rPr>
                <a:t>и другие</a:t>
              </a:r>
              <a:r>
                <a:rPr lang="en-GB" altLang="en-US" sz="1100" dirty="0">
                  <a:latin typeface="Bookman Old Style" panose="02050604050505020204" pitchFamily="18" charset="0"/>
                </a:rPr>
                <a:t>. </a:t>
              </a:r>
            </a:p>
            <a:p>
              <a:pPr algn="just">
                <a:spcAft>
                  <a:spcPts val="692"/>
                </a:spcAft>
                <a:buFont typeface="Arial" panose="020B0604020202020204" pitchFamily="34" charset="0"/>
                <a:buChar char="•"/>
              </a:pPr>
              <a:r>
                <a:rPr lang="ru-RU" altLang="en-US" sz="1100" dirty="0">
                  <a:latin typeface="Bookman Old Style" panose="02050604050505020204" pitchFamily="18" charset="0"/>
                </a:rPr>
                <a:t>В настоящее время разведение рыбы занимает </a:t>
              </a:r>
              <a:r>
                <a:rPr lang="en-GB" altLang="en-US" sz="1100" dirty="0">
                  <a:latin typeface="Bookman Old Style" panose="02050604050505020204" pitchFamily="18" charset="0"/>
                </a:rPr>
                <a:t>218</a:t>
              </a:r>
              <a:r>
                <a:rPr lang="ru-RU" altLang="en-US" sz="1100" dirty="0">
                  <a:latin typeface="Bookman Old Style" panose="02050604050505020204" pitchFamily="18" charset="0"/>
                </a:rPr>
                <a:t>Га территории страны и </a:t>
              </a:r>
              <a:r>
                <a:rPr lang="en-GB" altLang="en-US" sz="1100" dirty="0">
                  <a:latin typeface="Bookman Old Style" panose="02050604050505020204" pitchFamily="18" charset="0"/>
                </a:rPr>
                <a:t>718 </a:t>
              </a:r>
              <a:r>
                <a:rPr lang="ru-RU" altLang="en-US" sz="1100" dirty="0">
                  <a:latin typeface="Bookman Old Style" panose="02050604050505020204" pitchFamily="18" charset="0"/>
                </a:rPr>
                <a:t>резервуаров в</a:t>
              </a:r>
              <a:r>
                <a:rPr lang="en-GB" altLang="en-US" sz="1100" dirty="0">
                  <a:latin typeface="Bookman Old Style" panose="02050604050505020204" pitchFamily="18" charset="0"/>
                </a:rPr>
                <a:t> 186 </a:t>
              </a:r>
              <a:r>
                <a:rPr lang="ru-RU" altLang="en-US" sz="1100" dirty="0">
                  <a:latin typeface="Bookman Old Style" panose="02050604050505020204" pitchFamily="18" charset="0"/>
                </a:rPr>
                <a:t>кооперативах, в которых занято </a:t>
              </a:r>
              <a:r>
                <a:rPr lang="en-GB" altLang="en-US" sz="1100" dirty="0">
                  <a:latin typeface="Bookman Old Style" panose="02050604050505020204" pitchFamily="18" charset="0"/>
                </a:rPr>
                <a:t>6269 </a:t>
              </a:r>
              <a:r>
                <a:rPr lang="ru-RU" altLang="en-US" sz="1100" dirty="0">
                  <a:latin typeface="Bookman Old Style" panose="02050604050505020204" pitchFamily="18" charset="0"/>
                </a:rPr>
                <a:t>человек, </a:t>
              </a:r>
              <a:r>
                <a:rPr lang="en-GB" altLang="en-US" sz="1100" dirty="0">
                  <a:latin typeface="Bookman Old Style" panose="02050604050505020204" pitchFamily="18" charset="0"/>
                </a:rPr>
                <a:t>2551 </a:t>
              </a:r>
              <a:r>
                <a:rPr lang="ru-RU" altLang="en-US" sz="1100" dirty="0">
                  <a:latin typeface="Bookman Old Style" panose="02050604050505020204" pitchFamily="18" charset="0"/>
                </a:rPr>
                <a:t>из них – женщины</a:t>
              </a:r>
              <a:r>
                <a:rPr lang="en-GB" altLang="en-US" sz="1100" dirty="0">
                  <a:latin typeface="Bookman Old Style" panose="02050604050505020204" pitchFamily="18" charset="0"/>
                </a:rPr>
                <a:t>. </a:t>
              </a:r>
            </a:p>
          </p:txBody>
        </p:sp>
      </p:grpSp>
      <p:pic>
        <p:nvPicPr>
          <p:cNvPr id="22539" name="Picture 28">
            <a:extLst>
              <a:ext uri="{FF2B5EF4-FFF2-40B4-BE49-F238E27FC236}">
                <a16:creationId xmlns:a16="http://schemas.microsoft.com/office/drawing/2014/main" id="{42793906-7044-40D7-937D-1F0E167F07E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162800" y="0"/>
            <a:ext cx="1000125" cy="76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0" name="Picture 29">
            <a:extLst>
              <a:ext uri="{FF2B5EF4-FFF2-40B4-BE49-F238E27FC236}">
                <a16:creationId xmlns:a16="http://schemas.microsoft.com/office/drawing/2014/main" id="{52BD4E57-BD0F-446F-85D6-19306C298F8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653704" y="755040"/>
            <a:ext cx="1490296" cy="137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1" name="Picture 32">
            <a:extLst>
              <a:ext uri="{FF2B5EF4-FFF2-40B4-BE49-F238E27FC236}">
                <a16:creationId xmlns:a16="http://schemas.microsoft.com/office/drawing/2014/main" id="{EC0FC3D8-6198-4FF2-B7A0-43B51C0AEF7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945923" y="3260848"/>
            <a:ext cx="2003913" cy="1374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42" name="Rectangle 3">
            <a:extLst>
              <a:ext uri="{FF2B5EF4-FFF2-40B4-BE49-F238E27FC236}">
                <a16:creationId xmlns:a16="http://schemas.microsoft.com/office/drawing/2014/main" id="{89BFCA33-1698-42A7-83EF-66C1C88352C4}"/>
              </a:ext>
            </a:extLst>
          </p:cNvPr>
          <p:cNvSpPr>
            <a:spLocks noChangeArrowheads="1"/>
          </p:cNvSpPr>
          <p:nvPr/>
        </p:nvSpPr>
        <p:spPr bwMode="auto">
          <a:xfrm>
            <a:off x="7540868" y="2395703"/>
            <a:ext cx="1408967" cy="661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just">
              <a:lnSpc>
                <a:spcPct val="97000"/>
              </a:lnSpc>
              <a:spcAft>
                <a:spcPts val="346"/>
              </a:spcAft>
            </a:pPr>
            <a:r>
              <a:rPr lang="ru-RU" altLang="en-US" sz="762" b="1" dirty="0">
                <a:solidFill>
                  <a:srgbClr val="000000"/>
                </a:solidFill>
                <a:latin typeface="Bookman Old Style" panose="02050604050505020204" pitchFamily="18" charset="0"/>
              </a:rPr>
              <a:t>Топографическая карта показывает некоторые из озер Руанды. </a:t>
            </a:r>
            <a:r>
              <a:rPr lang="ru-RU" altLang="en-US" sz="762" b="1" dirty="0" err="1">
                <a:solidFill>
                  <a:srgbClr val="000000"/>
                </a:solidFill>
                <a:latin typeface="Bookman Old Style" panose="02050604050505020204" pitchFamily="18" charset="0"/>
              </a:rPr>
              <a:t>О.Мухази</a:t>
            </a:r>
            <a:r>
              <a:rPr lang="ru-RU" altLang="en-US" sz="762" b="1" dirty="0">
                <a:solidFill>
                  <a:srgbClr val="000000"/>
                </a:solidFill>
                <a:latin typeface="Bookman Old Style" panose="02050604050505020204" pitchFamily="18" charset="0"/>
              </a:rPr>
              <a:t> не показано</a:t>
            </a:r>
            <a:r>
              <a:rPr lang="en-ZA" altLang="en-US" sz="762" b="1" dirty="0">
                <a:solidFill>
                  <a:srgbClr val="000000"/>
                </a:solidFill>
                <a:latin typeface="Bookman Old Style" panose="02050604050505020204" pitchFamily="18" charset="0"/>
              </a:rPr>
              <a:t>.</a:t>
            </a:r>
            <a:endParaRPr lang="en-ZA" altLang="en-US" sz="762" dirty="0">
              <a:solidFill>
                <a:srgbClr val="000000"/>
              </a:solidFill>
              <a:latin typeface="Bookman Old Style" panose="02050604050505020204" pitchFamily="18" charset="0"/>
            </a:endParaRPr>
          </a:p>
        </p:txBody>
      </p:sp>
    </p:spTree>
    <p:extLst>
      <p:ext uri="{BB962C8B-B14F-4D97-AF65-F5344CB8AC3E}">
        <p14:creationId xmlns:p14="http://schemas.microsoft.com/office/powerpoint/2010/main" val="1626062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A5013A8-F3E1-2C42-B42A-3ED798E2D4A7}" type="slidenum">
              <a:rPr lang="en-US" smtClean="0"/>
              <a:t>17</a:t>
            </a:fld>
            <a:endParaRPr lang="en-US" dirty="0"/>
          </a:p>
        </p:txBody>
      </p:sp>
      <p:pic>
        <p:nvPicPr>
          <p:cNvPr id="3" name="Picture 2" descr="RDB logo.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06983" y="5806941"/>
            <a:ext cx="1186192" cy="1051708"/>
          </a:xfrm>
          <a:prstGeom prst="rect">
            <a:avLst/>
          </a:prstGeom>
        </p:spPr>
      </p:pic>
      <p:sp>
        <p:nvSpPr>
          <p:cNvPr id="4" name="Rectangle 3"/>
          <p:cNvSpPr/>
          <p:nvPr/>
        </p:nvSpPr>
        <p:spPr>
          <a:xfrm>
            <a:off x="4793047" y="2275308"/>
            <a:ext cx="4100127" cy="1871999"/>
          </a:xfrm>
          <a:prstGeom prst="rect">
            <a:avLst/>
          </a:prstGeom>
          <a:solidFill>
            <a:srgbClr val="C7E0FB"/>
          </a:solidFill>
        </p:spPr>
        <p:txBody>
          <a:bodyPr wrap="square" lIns="288000" tIns="73152" rIns="73152" bIns="73152" anchor="ctr">
            <a:noAutofit/>
          </a:bodyPr>
          <a:lstStyle/>
          <a:p>
            <a:pPr marL="171450" indent="-171450" defTabSz="914400" eaLnBrk="0" hangingPunct="0">
              <a:lnSpc>
                <a:spcPct val="90000"/>
              </a:lnSpc>
              <a:spcAft>
                <a:spcPts val="600"/>
              </a:spcAft>
              <a:buClr>
                <a:srgbClr val="FF6600"/>
              </a:buClr>
              <a:buSzPct val="100000"/>
              <a:buFont typeface="Arial" pitchFamily="34" charset="0"/>
              <a:buChar char="•"/>
            </a:pPr>
            <a:endParaRPr lang="en-US" sz="1200" kern="0" dirty="0">
              <a:solidFill>
                <a:sysClr val="windowText" lastClr="000000"/>
              </a:solidFill>
              <a:cs typeface="Arial" pitchFamily="34" charset="0"/>
            </a:endParaRPr>
          </a:p>
          <a:p>
            <a:pPr marL="171450" indent="-171450" defTabSz="914400" eaLnBrk="0" hangingPunct="0">
              <a:lnSpc>
                <a:spcPct val="90000"/>
              </a:lnSpc>
              <a:spcAft>
                <a:spcPts val="600"/>
              </a:spcAft>
              <a:buClr>
                <a:srgbClr val="FF6600"/>
              </a:buClr>
              <a:buSzPct val="100000"/>
              <a:buFont typeface="Arial" pitchFamily="34" charset="0"/>
              <a:buChar char="•"/>
            </a:pPr>
            <a:r>
              <a:rPr lang="ru-RU" sz="1200" kern="0" dirty="0">
                <a:solidFill>
                  <a:sysClr val="windowText" lastClr="000000"/>
                </a:solidFill>
                <a:cs typeface="Arial" pitchFamily="34" charset="0"/>
              </a:rPr>
              <a:t>Инвестиции в строительство 4- и</a:t>
            </a:r>
            <a:r>
              <a:rPr lang="en-US" sz="1200" b="1" kern="0" dirty="0">
                <a:solidFill>
                  <a:sysClr val="windowText" lastClr="000000"/>
                </a:solidFill>
                <a:cs typeface="Arial" pitchFamily="34" charset="0"/>
              </a:rPr>
              <a:t> 5</a:t>
            </a:r>
            <a:r>
              <a:rPr lang="ru-RU" sz="1200" b="1" kern="0" dirty="0">
                <a:solidFill>
                  <a:sysClr val="windowText" lastClr="000000"/>
                </a:solidFill>
                <a:cs typeface="Arial" pitchFamily="34" charset="0"/>
              </a:rPr>
              <a:t>-звездных отелей</a:t>
            </a:r>
            <a:r>
              <a:rPr lang="en-US" sz="1200" b="1" kern="0" dirty="0">
                <a:solidFill>
                  <a:sysClr val="windowText" lastClr="000000"/>
                </a:solidFill>
                <a:cs typeface="Arial" pitchFamily="34" charset="0"/>
              </a:rPr>
              <a:t>, </a:t>
            </a:r>
            <a:r>
              <a:rPr lang="ru-RU" sz="1200" b="1" kern="0" dirty="0">
                <a:solidFill>
                  <a:sysClr val="windowText" lastClr="000000"/>
                </a:solidFill>
                <a:cs typeface="Arial" pitchFamily="34" charset="0"/>
              </a:rPr>
              <a:t>эко-гостиниц и пансионатов</a:t>
            </a:r>
            <a:endParaRPr lang="en-US" sz="1200" b="1" kern="0" dirty="0">
              <a:solidFill>
                <a:sysClr val="windowText" lastClr="000000"/>
              </a:solidFill>
              <a:cs typeface="Arial" pitchFamily="34" charset="0"/>
            </a:endParaRPr>
          </a:p>
          <a:p>
            <a:pPr marL="171450" indent="-171450" defTabSz="914400" eaLnBrk="0" hangingPunct="0">
              <a:lnSpc>
                <a:spcPct val="90000"/>
              </a:lnSpc>
              <a:spcAft>
                <a:spcPts val="600"/>
              </a:spcAft>
              <a:buClr>
                <a:srgbClr val="FF6600"/>
              </a:buClr>
              <a:buSzPct val="100000"/>
              <a:buFont typeface="Arial" pitchFamily="34" charset="0"/>
              <a:buChar char="•"/>
            </a:pPr>
            <a:r>
              <a:rPr lang="ru-RU" sz="1200" kern="0" noProof="0" dirty="0">
                <a:solidFill>
                  <a:sysClr val="windowText" lastClr="000000"/>
                </a:solidFill>
                <a:cs typeface="Arial" pitchFamily="34" charset="0"/>
              </a:rPr>
              <a:t>Строительство люксовых отелей, эко-гостиниц и гольф-клубов </a:t>
            </a:r>
            <a:r>
              <a:rPr lang="ru-RU" sz="1200" kern="0" dirty="0">
                <a:solidFill>
                  <a:sysClr val="windowText" lastClr="000000"/>
                </a:solidFill>
                <a:cs typeface="Arial" pitchFamily="34" charset="0"/>
              </a:rPr>
              <a:t>на </a:t>
            </a:r>
            <a:r>
              <a:rPr lang="ru-RU" sz="1200" b="1" kern="0" dirty="0">
                <a:solidFill>
                  <a:sysClr val="windowText" lastClr="000000"/>
                </a:solidFill>
                <a:cs typeface="Arial" pitchFamily="34" charset="0"/>
              </a:rPr>
              <a:t>п</a:t>
            </a:r>
            <a:r>
              <a:rPr lang="ru-RU" sz="1200" b="1" kern="0" noProof="0" dirty="0" err="1">
                <a:solidFill>
                  <a:sysClr val="windowText" lastClr="000000"/>
                </a:solidFill>
                <a:cs typeface="Arial" pitchFamily="34" charset="0"/>
              </a:rPr>
              <a:t>рибрежных</a:t>
            </a:r>
            <a:r>
              <a:rPr lang="ru-RU" sz="1200" b="1" kern="0" noProof="0" dirty="0">
                <a:solidFill>
                  <a:sysClr val="windowText" lastClr="000000"/>
                </a:solidFill>
                <a:cs typeface="Arial" pitchFamily="34" charset="0"/>
              </a:rPr>
              <a:t> зонах </a:t>
            </a:r>
            <a:r>
              <a:rPr lang="ru-RU" sz="1200" b="1" kern="0" dirty="0">
                <a:solidFill>
                  <a:sysClr val="windowText" lastClr="000000"/>
                </a:solidFill>
                <a:cs typeface="Arial" pitchFamily="34" charset="0"/>
              </a:rPr>
              <a:t>о</a:t>
            </a:r>
            <a:r>
              <a:rPr lang="ru-RU" sz="1200" b="1" kern="0" noProof="0" dirty="0" err="1">
                <a:solidFill>
                  <a:sysClr val="windowText" lastClr="000000"/>
                </a:solidFill>
                <a:cs typeface="Arial" pitchFamily="34" charset="0"/>
              </a:rPr>
              <a:t>зер</a:t>
            </a:r>
            <a:r>
              <a:rPr lang="ru-RU" sz="1200" b="1" kern="0" noProof="0" dirty="0">
                <a:solidFill>
                  <a:sysClr val="windowText" lastClr="000000"/>
                </a:solidFill>
                <a:cs typeface="Arial" pitchFamily="34" charset="0"/>
              </a:rPr>
              <a:t>-близнецов на севере страны и </a:t>
            </a:r>
            <a:r>
              <a:rPr lang="ru-RU" sz="1200" b="1" kern="0" noProof="0" dirty="0" err="1">
                <a:solidFill>
                  <a:sysClr val="windowText" lastClr="000000"/>
                </a:solidFill>
                <a:cs typeface="Arial" pitchFamily="34" charset="0"/>
              </a:rPr>
              <a:t>о.Киву</a:t>
            </a:r>
            <a:r>
              <a:rPr lang="en-US" sz="1200" kern="0" noProof="0" dirty="0">
                <a:solidFill>
                  <a:sysClr val="windowText" lastClr="000000"/>
                </a:solidFill>
                <a:cs typeface="Arial" pitchFamily="34" charset="0"/>
              </a:rPr>
              <a:t>.</a:t>
            </a:r>
          </a:p>
          <a:p>
            <a:pPr marL="171450" indent="-171450" defTabSz="914400" eaLnBrk="0" hangingPunct="0">
              <a:lnSpc>
                <a:spcPct val="90000"/>
              </a:lnSpc>
              <a:spcAft>
                <a:spcPts val="600"/>
              </a:spcAft>
              <a:buClr>
                <a:srgbClr val="FF6600"/>
              </a:buClr>
              <a:buSzPct val="100000"/>
              <a:buFont typeface="Arial" pitchFamily="34" charset="0"/>
              <a:buChar char="•"/>
            </a:pPr>
            <a:r>
              <a:rPr lang="ru-RU" sz="1200" kern="0" dirty="0">
                <a:solidFill>
                  <a:sysClr val="windowText" lastClr="000000"/>
                </a:solidFill>
                <a:cs typeface="Arial" pitchFamily="34" charset="0"/>
              </a:rPr>
              <a:t>Развитие эко-курортов в районах </a:t>
            </a:r>
            <a:r>
              <a:rPr lang="ru-RU" sz="1200" b="1" kern="0" dirty="0">
                <a:solidFill>
                  <a:sysClr val="windowText" lastClr="000000"/>
                </a:solidFill>
                <a:cs typeface="Arial" pitchFamily="34" charset="0"/>
              </a:rPr>
              <a:t>г</a:t>
            </a:r>
            <a:r>
              <a:rPr lang="ru-RU" sz="1200" b="1" kern="0" noProof="0" dirty="0" err="1">
                <a:solidFill>
                  <a:sysClr val="windowText" lastClr="000000"/>
                </a:solidFill>
                <a:cs typeface="Arial" pitchFamily="34" charset="0"/>
              </a:rPr>
              <a:t>орячих</a:t>
            </a:r>
            <a:r>
              <a:rPr lang="ru-RU" sz="1200" b="1" kern="0" noProof="0" dirty="0">
                <a:solidFill>
                  <a:sysClr val="windowText" lastClr="000000"/>
                </a:solidFill>
                <a:cs typeface="Arial" pitchFamily="34" charset="0"/>
              </a:rPr>
              <a:t> источников </a:t>
            </a:r>
            <a:r>
              <a:rPr lang="en-US" sz="1200" b="1" kern="0" noProof="0" dirty="0">
                <a:solidFill>
                  <a:sysClr val="windowText" lastClr="000000"/>
                </a:solidFill>
                <a:cs typeface="Arial" pitchFamily="34" charset="0"/>
              </a:rPr>
              <a:t> </a:t>
            </a:r>
            <a:r>
              <a:rPr lang="ru-RU" sz="1200" b="1" kern="0" noProof="0" dirty="0">
                <a:solidFill>
                  <a:sysClr val="windowText" lastClr="000000"/>
                </a:solidFill>
                <a:cs typeface="Arial" pitchFamily="34" charset="0"/>
              </a:rPr>
              <a:t>вдоль </a:t>
            </a:r>
            <a:r>
              <a:rPr lang="ru-RU" sz="1200" b="1" kern="0" noProof="0" dirty="0" err="1">
                <a:solidFill>
                  <a:sysClr val="windowText" lastClr="000000"/>
                </a:solidFill>
                <a:cs typeface="Arial" pitchFamily="34" charset="0"/>
              </a:rPr>
              <a:t>о.Мухази</a:t>
            </a:r>
            <a:r>
              <a:rPr lang="en-US" sz="1200" kern="0" dirty="0">
                <a:solidFill>
                  <a:sysClr val="windowText" lastClr="000000"/>
                </a:solidFill>
                <a:cs typeface="Arial" pitchFamily="34" charset="0"/>
              </a:rPr>
              <a:t>. </a:t>
            </a:r>
            <a:r>
              <a:rPr lang="en-US" sz="1200" kern="0" noProof="0" dirty="0">
                <a:solidFill>
                  <a:sysClr val="windowText" lastClr="000000"/>
                </a:solidFill>
                <a:cs typeface="Arial" pitchFamily="34" charset="0"/>
              </a:rPr>
              <a:t> </a:t>
            </a:r>
          </a:p>
        </p:txBody>
      </p:sp>
      <p:sp>
        <p:nvSpPr>
          <p:cNvPr id="5" name="Rectangle 4"/>
          <p:cNvSpPr/>
          <p:nvPr/>
        </p:nvSpPr>
        <p:spPr>
          <a:xfrm>
            <a:off x="4793047" y="4279779"/>
            <a:ext cx="4100128" cy="1850115"/>
          </a:xfrm>
          <a:prstGeom prst="rect">
            <a:avLst/>
          </a:prstGeom>
          <a:solidFill>
            <a:srgbClr val="C7E0FB"/>
          </a:solidFill>
        </p:spPr>
        <p:txBody>
          <a:bodyPr wrap="square" lIns="288000" tIns="73152" rIns="73152" bIns="73152" anchor="ctr">
            <a:noAutofit/>
          </a:bodyPr>
          <a:lstStyle/>
          <a:p>
            <a:pPr marL="171450" lvl="0" indent="-171450" defTabSz="914400" eaLnBrk="0" hangingPunct="0">
              <a:lnSpc>
                <a:spcPct val="90000"/>
              </a:lnSpc>
              <a:spcAft>
                <a:spcPts val="600"/>
              </a:spcAft>
              <a:buClr>
                <a:srgbClr val="FF6600"/>
              </a:buClr>
              <a:buSzPct val="100000"/>
              <a:buFont typeface="Arial" pitchFamily="34" charset="0"/>
              <a:buChar char="•"/>
            </a:pPr>
            <a:r>
              <a:rPr lang="ru-RU" sz="1200" kern="0" dirty="0">
                <a:solidFill>
                  <a:sysClr val="windowText" lastClr="000000"/>
                </a:solidFill>
                <a:cs typeface="Arial" pitchFamily="34" charset="0"/>
              </a:rPr>
              <a:t>Развитие </a:t>
            </a:r>
            <a:r>
              <a:rPr lang="ru-RU" sz="1200" b="1" kern="0" dirty="0">
                <a:solidFill>
                  <a:sysClr val="windowText" lastClr="000000"/>
                </a:solidFill>
                <a:cs typeface="Arial" pitchFamily="34" charset="0"/>
              </a:rPr>
              <a:t>специализированных медицинских услуг</a:t>
            </a:r>
            <a:r>
              <a:rPr lang="en-US" sz="1200" kern="0" dirty="0">
                <a:solidFill>
                  <a:sysClr val="windowText" lastClr="000000"/>
                </a:solidFill>
                <a:cs typeface="Arial" pitchFamily="34" charset="0"/>
              </a:rPr>
              <a:t>:</a:t>
            </a:r>
          </a:p>
          <a:p>
            <a:pPr marL="171450" lvl="0" indent="-171450" defTabSz="914400" eaLnBrk="0" hangingPunct="0">
              <a:lnSpc>
                <a:spcPct val="90000"/>
              </a:lnSpc>
              <a:spcAft>
                <a:spcPts val="600"/>
              </a:spcAft>
              <a:buClr>
                <a:srgbClr val="FF6600"/>
              </a:buClr>
              <a:buSzPct val="100000"/>
              <a:buFont typeface="Arial" pitchFamily="34" charset="0"/>
              <a:buChar char="•"/>
            </a:pPr>
            <a:r>
              <a:rPr lang="ru-RU" sz="1200" b="1" kern="0" dirty="0">
                <a:solidFill>
                  <a:sysClr val="windowText" lastClr="000000"/>
                </a:solidFill>
                <a:cs typeface="Arial" pitchFamily="34" charset="0"/>
              </a:rPr>
              <a:t>Кардиология</a:t>
            </a:r>
            <a:r>
              <a:rPr lang="en-US" sz="1200" b="1" kern="0" dirty="0">
                <a:solidFill>
                  <a:sysClr val="windowText" lastClr="000000"/>
                </a:solidFill>
                <a:cs typeface="Arial" pitchFamily="34" charset="0"/>
              </a:rPr>
              <a:t> ($9</a:t>
            </a:r>
            <a:r>
              <a:rPr lang="ru-RU" sz="1200" b="1" kern="0" dirty="0">
                <a:solidFill>
                  <a:sysClr val="windowText" lastClr="000000"/>
                </a:solidFill>
                <a:cs typeface="Arial" pitchFamily="34" charset="0"/>
              </a:rPr>
              <a:t>М</a:t>
            </a:r>
            <a:r>
              <a:rPr lang="en-US" sz="1200" b="1" kern="0" dirty="0">
                <a:solidFill>
                  <a:sysClr val="windowText" lastClr="000000"/>
                </a:solidFill>
                <a:cs typeface="Arial" pitchFamily="34" charset="0"/>
              </a:rPr>
              <a:t>): </a:t>
            </a:r>
            <a:r>
              <a:rPr lang="ru-RU" sz="1200" kern="0" dirty="0">
                <a:solidFill>
                  <a:sysClr val="windowText" lastClr="000000"/>
                </a:solidFill>
                <a:cs typeface="Arial" pitchFamily="34" charset="0"/>
              </a:rPr>
              <a:t>Смертность от сердечно-сосудистых заболеваний составляет </a:t>
            </a:r>
            <a:r>
              <a:rPr lang="en-US" sz="1200" kern="0" dirty="0">
                <a:solidFill>
                  <a:sysClr val="windowText" lastClr="000000"/>
                </a:solidFill>
                <a:cs typeface="Arial" pitchFamily="34" charset="0"/>
              </a:rPr>
              <a:t> </a:t>
            </a:r>
            <a:r>
              <a:rPr lang="ru-RU" sz="1200" kern="0" dirty="0">
                <a:solidFill>
                  <a:sysClr val="windowText" lastClr="000000"/>
                </a:solidFill>
                <a:cs typeface="Arial" pitchFamily="34" charset="0"/>
              </a:rPr>
              <a:t>наибольшую долю в регионе ВАС (</a:t>
            </a:r>
            <a:r>
              <a:rPr lang="en-US" sz="1200" kern="0" dirty="0">
                <a:solidFill>
                  <a:sysClr val="windowText" lastClr="000000"/>
                </a:solidFill>
                <a:cs typeface="Arial" pitchFamily="34" charset="0"/>
              </a:rPr>
              <a:t>12%</a:t>
            </a:r>
            <a:r>
              <a:rPr lang="ru-RU" sz="1200" kern="0" dirty="0">
                <a:solidFill>
                  <a:sysClr val="windowText" lastClr="000000"/>
                </a:solidFill>
                <a:cs typeface="Arial" pitchFamily="34" charset="0"/>
              </a:rPr>
              <a:t>)</a:t>
            </a:r>
            <a:r>
              <a:rPr lang="en-US" sz="1200" kern="0" dirty="0">
                <a:solidFill>
                  <a:sysClr val="windowText" lastClr="000000"/>
                </a:solidFill>
                <a:cs typeface="Arial" pitchFamily="34" charset="0"/>
              </a:rPr>
              <a:t>.</a:t>
            </a:r>
            <a:r>
              <a:rPr lang="ru-RU" sz="1200" kern="0" dirty="0">
                <a:solidFill>
                  <a:sysClr val="windowText" lastClr="000000"/>
                </a:solidFill>
                <a:cs typeface="Arial" pitchFamily="34" charset="0"/>
              </a:rPr>
              <a:t> Увеличивается частота заболевания вегето-сосудистой дистонией. </a:t>
            </a:r>
            <a:endParaRPr lang="en-US" sz="1200" kern="0" dirty="0">
              <a:solidFill>
                <a:sysClr val="windowText" lastClr="000000"/>
              </a:solidFill>
              <a:cs typeface="Arial" pitchFamily="34" charset="0"/>
            </a:endParaRPr>
          </a:p>
          <a:p>
            <a:pPr marL="171450" indent="-171450" defTabSz="914400" eaLnBrk="0" hangingPunct="0">
              <a:lnSpc>
                <a:spcPct val="90000"/>
              </a:lnSpc>
              <a:spcAft>
                <a:spcPts val="600"/>
              </a:spcAft>
              <a:buClr>
                <a:srgbClr val="FF6600"/>
              </a:buClr>
              <a:buSzPct val="100000"/>
              <a:buFont typeface="Arial" pitchFamily="34" charset="0"/>
              <a:buChar char="•"/>
            </a:pPr>
            <a:r>
              <a:rPr lang="ru-RU" sz="1200" b="1" kern="0" dirty="0">
                <a:solidFill>
                  <a:sysClr val="windowText" lastClr="000000"/>
                </a:solidFill>
                <a:cs typeface="Arial" pitchFamily="34" charset="0"/>
              </a:rPr>
              <a:t>Онкология</a:t>
            </a:r>
            <a:r>
              <a:rPr lang="en-US" sz="1200" b="1" kern="0" dirty="0">
                <a:solidFill>
                  <a:sysClr val="windowText" lastClr="000000"/>
                </a:solidFill>
                <a:cs typeface="Arial" pitchFamily="34" charset="0"/>
              </a:rPr>
              <a:t> ($5</a:t>
            </a:r>
            <a:r>
              <a:rPr lang="ru-RU" sz="1200" b="1" kern="0" dirty="0">
                <a:solidFill>
                  <a:sysClr val="windowText" lastClr="000000"/>
                </a:solidFill>
                <a:cs typeface="Arial" pitchFamily="34" charset="0"/>
              </a:rPr>
              <a:t>М</a:t>
            </a:r>
            <a:r>
              <a:rPr lang="en-US" sz="1200" b="1" kern="0" dirty="0">
                <a:solidFill>
                  <a:sysClr val="windowText" lastClr="000000"/>
                </a:solidFill>
                <a:cs typeface="Arial" pitchFamily="34" charset="0"/>
              </a:rPr>
              <a:t>): </a:t>
            </a:r>
            <a:r>
              <a:rPr lang="ru-RU" sz="1200" kern="0" dirty="0">
                <a:solidFill>
                  <a:sysClr val="windowText" lastClr="000000"/>
                </a:solidFill>
                <a:cs typeface="Arial" pitchFamily="34" charset="0"/>
              </a:rPr>
              <a:t>В Африке регистрируется более</a:t>
            </a:r>
            <a:r>
              <a:rPr lang="en-US" sz="1200" kern="0" dirty="0">
                <a:solidFill>
                  <a:sysClr val="windowText" lastClr="000000"/>
                </a:solidFill>
                <a:cs typeface="Arial" pitchFamily="34" charset="0"/>
              </a:rPr>
              <a:t> 200</a:t>
            </a:r>
            <a:r>
              <a:rPr lang="ru-RU" sz="1200" kern="0" dirty="0">
                <a:solidFill>
                  <a:sysClr val="windowText" lastClr="000000"/>
                </a:solidFill>
                <a:cs typeface="Arial" pitchFamily="34" charset="0"/>
              </a:rPr>
              <a:t> </a:t>
            </a:r>
            <a:r>
              <a:rPr lang="en-US" sz="1200" kern="0" dirty="0">
                <a:solidFill>
                  <a:sysClr val="windowText" lastClr="000000"/>
                </a:solidFill>
                <a:cs typeface="Arial" pitchFamily="34" charset="0"/>
              </a:rPr>
              <a:t>000 </a:t>
            </a:r>
            <a:r>
              <a:rPr lang="ru-RU" sz="1200" kern="0" dirty="0">
                <a:solidFill>
                  <a:sysClr val="windowText" lastClr="000000"/>
                </a:solidFill>
                <a:cs typeface="Arial" pitchFamily="34" charset="0"/>
              </a:rPr>
              <a:t>случаев онкозаболеваний ежегодно</a:t>
            </a:r>
            <a:r>
              <a:rPr lang="en-US" sz="1200" kern="0" dirty="0">
                <a:solidFill>
                  <a:sysClr val="windowText" lastClr="000000"/>
                </a:solidFill>
                <a:cs typeface="Arial" pitchFamily="34" charset="0"/>
              </a:rPr>
              <a:t>. </a:t>
            </a:r>
          </a:p>
          <a:p>
            <a:pPr marL="171450" lvl="0" indent="-171450" defTabSz="914400" eaLnBrk="0" hangingPunct="0">
              <a:lnSpc>
                <a:spcPct val="90000"/>
              </a:lnSpc>
              <a:spcAft>
                <a:spcPts val="600"/>
              </a:spcAft>
              <a:buClr>
                <a:srgbClr val="FF6600"/>
              </a:buClr>
              <a:buSzPct val="100000"/>
              <a:buFont typeface="Arial" pitchFamily="34" charset="0"/>
              <a:buChar char="•"/>
            </a:pPr>
            <a:r>
              <a:rPr lang="ru-RU" sz="1200" b="1" kern="0" dirty="0">
                <a:solidFill>
                  <a:sysClr val="windowText" lastClr="000000"/>
                </a:solidFill>
                <a:cs typeface="Arial" pitchFamily="34" charset="0"/>
              </a:rPr>
              <a:t>Нефрология</a:t>
            </a:r>
            <a:r>
              <a:rPr lang="en-US" sz="1200" b="1" kern="0" dirty="0">
                <a:solidFill>
                  <a:sysClr val="windowText" lastClr="000000"/>
                </a:solidFill>
                <a:cs typeface="Arial" pitchFamily="34" charset="0"/>
              </a:rPr>
              <a:t> </a:t>
            </a:r>
            <a:r>
              <a:rPr lang="ru-RU" sz="1200" b="1" kern="0" dirty="0">
                <a:solidFill>
                  <a:sysClr val="windowText" lastClr="000000"/>
                </a:solidFill>
                <a:cs typeface="Arial" pitchFamily="34" charset="0"/>
              </a:rPr>
              <a:t>и </a:t>
            </a:r>
            <a:r>
              <a:rPr lang="ru-RU" sz="1200" b="1" kern="0" dirty="0" err="1">
                <a:solidFill>
                  <a:sysClr val="windowText" lastClr="000000"/>
                </a:solidFill>
                <a:cs typeface="Arial" pitchFamily="34" charset="0"/>
              </a:rPr>
              <a:t>энодокринология</a:t>
            </a:r>
            <a:r>
              <a:rPr lang="ru-RU" sz="1200" b="1" kern="0" dirty="0">
                <a:solidFill>
                  <a:sysClr val="windowText" lastClr="000000"/>
                </a:solidFill>
                <a:cs typeface="Arial" pitchFamily="34" charset="0"/>
              </a:rPr>
              <a:t> </a:t>
            </a:r>
            <a:r>
              <a:rPr lang="en-US" sz="1200" b="1" kern="0" dirty="0">
                <a:solidFill>
                  <a:sysClr val="windowText" lastClr="000000"/>
                </a:solidFill>
                <a:cs typeface="Arial" pitchFamily="34" charset="0"/>
              </a:rPr>
              <a:t>($3.4</a:t>
            </a:r>
            <a:r>
              <a:rPr lang="ru-RU" sz="1200" b="1" kern="0" dirty="0">
                <a:solidFill>
                  <a:sysClr val="windowText" lastClr="000000"/>
                </a:solidFill>
                <a:cs typeface="Arial" pitchFamily="34" charset="0"/>
              </a:rPr>
              <a:t>М</a:t>
            </a:r>
            <a:r>
              <a:rPr lang="en-US" sz="1200" b="1" kern="0" dirty="0">
                <a:solidFill>
                  <a:sysClr val="windowText" lastClr="000000"/>
                </a:solidFill>
                <a:cs typeface="Arial" pitchFamily="34" charset="0"/>
              </a:rPr>
              <a:t>): </a:t>
            </a:r>
            <a:r>
              <a:rPr lang="ru-RU" sz="1200" kern="0" dirty="0">
                <a:solidFill>
                  <a:sysClr val="windowText" lastClr="000000"/>
                </a:solidFill>
                <a:cs typeface="Arial" pitchFamily="34" charset="0"/>
              </a:rPr>
              <a:t>Быстро увеличивается частота заболеваний диабетом. </a:t>
            </a:r>
            <a:endParaRPr lang="en-US" sz="1200" kern="0" dirty="0">
              <a:solidFill>
                <a:sysClr val="windowText" lastClr="000000"/>
              </a:solidFill>
              <a:cs typeface="Arial" pitchFamily="34" charset="0"/>
            </a:endParaRPr>
          </a:p>
        </p:txBody>
      </p:sp>
      <p:sp>
        <p:nvSpPr>
          <p:cNvPr id="7" name="Title 3"/>
          <p:cNvSpPr txBox="1">
            <a:spLocks/>
          </p:cNvSpPr>
          <p:nvPr/>
        </p:nvSpPr>
        <p:spPr bwMode="auto">
          <a:xfrm>
            <a:off x="250825" y="266947"/>
            <a:ext cx="8642350"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ct val="90000"/>
              </a:lnSpc>
              <a:spcBef>
                <a:spcPct val="0"/>
              </a:spcBef>
              <a:spcAft>
                <a:spcPct val="0"/>
              </a:spcAft>
              <a:defRPr sz="2400" b="1" kern="1200">
                <a:solidFill>
                  <a:schemeClr val="tx2"/>
                </a:solidFill>
                <a:latin typeface="Arial"/>
                <a:ea typeface="+mj-ea"/>
                <a:cs typeface="Arial"/>
                <a:sym typeface="Arial"/>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ru-RU" sz="2800" b="1" i="0" u="none" strike="noStrike" kern="1200" cap="none" spc="0" normalizeH="0" baseline="0" noProof="0" dirty="0">
                <a:ln>
                  <a:noFill/>
                </a:ln>
                <a:solidFill>
                  <a:srgbClr val="002960"/>
                </a:solidFill>
                <a:effectLst/>
                <a:uLnTx/>
                <a:uFillTx/>
                <a:sym typeface="Arial"/>
              </a:rPr>
              <a:t>Туризм</a:t>
            </a:r>
            <a:endParaRPr kumimoji="0" lang="en-GB" sz="2800" b="1" i="0" u="none" strike="noStrike" kern="1200" cap="none" spc="0" normalizeH="0" baseline="0" noProof="0" dirty="0">
              <a:ln>
                <a:noFill/>
              </a:ln>
              <a:solidFill>
                <a:srgbClr val="002960"/>
              </a:solidFill>
              <a:effectLst/>
              <a:uLnTx/>
              <a:uFillTx/>
              <a:sym typeface="Arial"/>
            </a:endParaRPr>
          </a:p>
        </p:txBody>
      </p:sp>
      <p:sp>
        <p:nvSpPr>
          <p:cNvPr id="8" name="TextBox 7"/>
          <p:cNvSpPr txBox="1"/>
          <p:nvPr/>
        </p:nvSpPr>
        <p:spPr bwMode="gray">
          <a:xfrm>
            <a:off x="1371667" y="1268413"/>
            <a:ext cx="6842760" cy="249299"/>
          </a:xfrm>
          <a:prstGeom prst="rect">
            <a:avLst/>
          </a:prstGeom>
          <a:noFill/>
          <a:ln w="6350">
            <a:noFill/>
          </a:ln>
          <a:extLst>
            <a:ext uri="{91240B29-F687-4F45-9708-019B960494DF}">
              <a14:hiddenLine xmlns:a14="http://schemas.microsoft.com/office/drawing/2010/main" w="6350">
                <a:solidFill>
                  <a:srgbClr val="ADABA1"/>
                </a:solidFill>
              </a14:hiddenLine>
            </a:ext>
          </a:extLst>
        </p:spPr>
        <p:txBody>
          <a:bodyPr wrap="square" lIns="0" tIns="0" rIns="0" bIns="0" rtlCol="0" anchor="t" anchorCtr="0">
            <a:spAutoFit/>
          </a:bodyPr>
          <a:lstStyle/>
          <a:p>
            <a:pPr algn="ctr">
              <a:lnSpc>
                <a:spcPct val="90000"/>
              </a:lnSpc>
            </a:pPr>
            <a:r>
              <a:rPr lang="ru-RU" b="1" dirty="0">
                <a:latin typeface="Arial"/>
                <a:cs typeface="Arial" pitchFamily="34" charset="0"/>
              </a:rPr>
              <a:t>Возможности в области туризма и медицинского туризма</a:t>
            </a:r>
            <a:endParaRPr lang="en-US" b="1" dirty="0">
              <a:latin typeface="Arial"/>
              <a:cs typeface="Arial" pitchFamily="34" charset="0"/>
            </a:endParaRPr>
          </a:p>
        </p:txBody>
      </p:sp>
      <p:sp>
        <p:nvSpPr>
          <p:cNvPr id="9" name="Rectangle 8"/>
          <p:cNvSpPr/>
          <p:nvPr/>
        </p:nvSpPr>
        <p:spPr>
          <a:xfrm>
            <a:off x="3275856" y="1773238"/>
            <a:ext cx="5617319" cy="411058"/>
          </a:xfrm>
          <a:prstGeom prst="rect">
            <a:avLst/>
          </a:prstGeom>
          <a:solidFill>
            <a:srgbClr val="002960"/>
          </a:solidFill>
          <a:ln w="9525" cap="flat" cmpd="sng" algn="ctr">
            <a:solidFill>
              <a:srgbClr val="002960"/>
            </a:solidFill>
            <a:prstDash val="solid"/>
          </a:ln>
          <a:effectLst/>
          <a:extLst/>
        </p:spPr>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pPr lvl="0" algn="ctr" defTabSz="914400" fontAlgn="base">
              <a:lnSpc>
                <a:spcPct val="90000"/>
              </a:lnSpc>
              <a:spcBef>
                <a:spcPct val="0"/>
              </a:spcBef>
              <a:spcAft>
                <a:spcPct val="0"/>
              </a:spcAft>
              <a:defRPr/>
            </a:pPr>
            <a:r>
              <a:rPr lang="ru-RU" sz="1600" b="1" kern="0" dirty="0">
                <a:solidFill>
                  <a:srgbClr val="FFFFFF"/>
                </a:solidFill>
                <a:latin typeface="Arial"/>
                <a:cs typeface="Arial"/>
              </a:rPr>
              <a:t>Инвестиционные возможности</a:t>
            </a:r>
            <a:endParaRPr lang="en-US" sz="1600" b="1" kern="0" dirty="0">
              <a:solidFill>
                <a:srgbClr val="FFFFFF"/>
              </a:solidFill>
              <a:latin typeface="Arial"/>
              <a:cs typeface="Arial"/>
            </a:endParaRPr>
          </a:p>
        </p:txBody>
      </p:sp>
      <p:sp>
        <p:nvSpPr>
          <p:cNvPr id="10" name="Pentagon 9"/>
          <p:cNvSpPr/>
          <p:nvPr/>
        </p:nvSpPr>
        <p:spPr>
          <a:xfrm>
            <a:off x="250825" y="1772816"/>
            <a:ext cx="2900804" cy="411480"/>
          </a:xfrm>
          <a:prstGeom prst="homePlate">
            <a:avLst>
              <a:gd name="adj" fmla="val 19760"/>
            </a:avLst>
          </a:prstGeom>
          <a:solidFill>
            <a:srgbClr val="002960"/>
          </a:solidFill>
          <a:ln w="6350">
            <a:solidFill>
              <a:srgbClr val="002960"/>
            </a:solidFill>
            <a:miter lim="800000"/>
            <a:headEnd/>
            <a:tailEnd/>
          </a:ln>
        </p:spPr>
        <p:txBody>
          <a:bodyPr lIns="72000" tIns="72000" rIns="72000" bIns="72000" anchor="ctr"/>
          <a:lstStyle/>
          <a:p>
            <a:pPr lvl="0" algn="ctr" defTabSz="914400" eaLnBrk="0" hangingPunct="0">
              <a:lnSpc>
                <a:spcPct val="90000"/>
              </a:lnSpc>
              <a:spcBef>
                <a:spcPct val="0"/>
              </a:spcBef>
              <a:defRPr/>
            </a:pPr>
            <a:r>
              <a:rPr lang="ru-RU" sz="1600" b="1" kern="0" dirty="0">
                <a:solidFill>
                  <a:srgbClr val="FFFFFF"/>
                </a:solidFill>
                <a:latin typeface="Arial"/>
                <a:cs typeface="Arial" pitchFamily="34" charset="0"/>
              </a:rPr>
              <a:t>Обзор</a:t>
            </a:r>
            <a:endParaRPr kumimoji="0" lang="en-US" sz="1600" b="1" i="0" u="none" strike="noStrike" kern="0" cap="none" spc="0" normalizeH="0" baseline="0" noProof="0" dirty="0">
              <a:ln>
                <a:noFill/>
              </a:ln>
              <a:solidFill>
                <a:srgbClr val="FFFFFF"/>
              </a:solidFill>
              <a:effectLst/>
              <a:uLnTx/>
              <a:uFillTx/>
              <a:latin typeface="Arial"/>
              <a:cs typeface="Arial" pitchFamily="34" charset="0"/>
            </a:endParaRPr>
          </a:p>
        </p:txBody>
      </p:sp>
      <p:sp>
        <p:nvSpPr>
          <p:cNvPr id="11" name="Rectangle 8"/>
          <p:cNvSpPr>
            <a:spLocks noChangeArrowheads="1"/>
          </p:cNvSpPr>
          <p:nvPr/>
        </p:nvSpPr>
        <p:spPr bwMode="gray">
          <a:xfrm>
            <a:off x="250825" y="2233694"/>
            <a:ext cx="2819048" cy="3945600"/>
          </a:xfrm>
          <a:prstGeom prst="rect">
            <a:avLst/>
          </a:prstGeom>
          <a:noFill/>
          <a:ln w="6350">
            <a:solidFill>
              <a:srgbClr val="002960"/>
            </a:solidFill>
            <a:miter lim="800000"/>
            <a:headEnd/>
            <a:tailEnd/>
          </a:ln>
        </p:spPr>
        <p:txBody>
          <a:bodyPr wrap="square" lIns="91440" tIns="91440" rIns="0" bIns="0" anchorCtr="0">
            <a:noAutofit/>
          </a:bodyPr>
          <a:lstStyle/>
          <a:p>
            <a:pPr marL="171450" marR="0" lvl="0" indent="-171450" defTabSz="966788" eaLnBrk="0" fontAlgn="auto" latinLnBrk="0" hangingPunct="0">
              <a:lnSpc>
                <a:spcPct val="90000"/>
              </a:lnSpc>
              <a:spcBef>
                <a:spcPts val="900"/>
              </a:spcBef>
              <a:spcAft>
                <a:spcPts val="0"/>
              </a:spcAft>
              <a:buClr>
                <a:srgbClr val="FF6600"/>
              </a:buClr>
              <a:buSzPct val="100000"/>
              <a:buFont typeface="Arial" pitchFamily="34" charset="0"/>
              <a:buChar char="•"/>
              <a:tabLst/>
              <a:defRPr/>
            </a:pPr>
            <a:endParaRPr kumimoji="0" lang="en-US" sz="1400" b="0" i="0" u="none" strike="noStrike" kern="0" cap="none" spc="0" normalizeH="0" baseline="0" noProof="0" dirty="0">
              <a:ln>
                <a:noFill/>
              </a:ln>
              <a:solidFill>
                <a:sysClr val="windowText" lastClr="000000"/>
              </a:solidFill>
              <a:effectLst/>
              <a:uLnTx/>
              <a:uFillTx/>
              <a:latin typeface="Arial"/>
              <a:cs typeface="Arial" pitchFamily="34" charset="0"/>
            </a:endParaRPr>
          </a:p>
        </p:txBody>
      </p:sp>
      <p:sp>
        <p:nvSpPr>
          <p:cNvPr id="12" name="Pentagon 11"/>
          <p:cNvSpPr/>
          <p:nvPr/>
        </p:nvSpPr>
        <p:spPr>
          <a:xfrm>
            <a:off x="3275855" y="2275308"/>
            <a:ext cx="1887165" cy="1871999"/>
          </a:xfrm>
          <a:prstGeom prst="homePlate">
            <a:avLst>
              <a:gd name="adj" fmla="val 19760"/>
            </a:avLst>
          </a:prstGeom>
          <a:solidFill>
            <a:srgbClr val="0066CC"/>
          </a:solidFill>
          <a:ln w="6350">
            <a:noFill/>
            <a:miter lim="800000"/>
            <a:headEnd/>
            <a:tailEnd/>
          </a:ln>
        </p:spPr>
        <p:txBody>
          <a:bodyPr lIns="72000" tIns="72000" rIns="7200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a:solidFill>
                  <a:srgbClr val="FFFFFF"/>
                </a:solidFill>
                <a:latin typeface="Arial"/>
                <a:cs typeface="Arial" pitchFamily="34" charset="0"/>
              </a:rPr>
              <a:t>Туризм люксового качества</a:t>
            </a:r>
            <a:endParaRPr kumimoji="0" lang="en-US" sz="1500" b="1" i="0" u="none" strike="noStrike" kern="0" cap="none" spc="0" normalizeH="0" baseline="0" noProof="0" dirty="0">
              <a:ln>
                <a:noFill/>
              </a:ln>
              <a:solidFill>
                <a:srgbClr val="FFFFFF"/>
              </a:solidFill>
              <a:effectLst/>
              <a:uLnTx/>
              <a:uFillTx/>
              <a:latin typeface="Arial"/>
              <a:cs typeface="Arial" pitchFamily="34" charset="0"/>
            </a:endParaRPr>
          </a:p>
        </p:txBody>
      </p:sp>
      <p:sp>
        <p:nvSpPr>
          <p:cNvPr id="13" name="Pentagon 12"/>
          <p:cNvSpPr/>
          <p:nvPr/>
        </p:nvSpPr>
        <p:spPr>
          <a:xfrm>
            <a:off x="3275856" y="4279779"/>
            <a:ext cx="1887164" cy="1850115"/>
          </a:xfrm>
          <a:prstGeom prst="homePlate">
            <a:avLst>
              <a:gd name="adj" fmla="val 19760"/>
            </a:avLst>
          </a:prstGeom>
          <a:solidFill>
            <a:srgbClr val="0066CC"/>
          </a:solidFill>
          <a:ln w="6350">
            <a:noFill/>
            <a:miter lim="800000"/>
            <a:headEnd/>
            <a:tailEnd/>
          </a:ln>
        </p:spPr>
        <p:txBody>
          <a:bodyPr wrap="none" lIns="72000" tIns="72000" rIns="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a:solidFill>
                  <a:srgbClr val="FFFFFF"/>
                </a:solidFill>
                <a:latin typeface="Arial"/>
                <a:cs typeface="Arial" pitchFamily="34" charset="0"/>
              </a:rPr>
              <a:t>Медицинский</a:t>
            </a:r>
          </a:p>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a:solidFill>
                  <a:srgbClr val="FFFFFF"/>
                </a:solidFill>
                <a:latin typeface="Arial"/>
                <a:cs typeface="Arial" pitchFamily="34" charset="0"/>
              </a:rPr>
              <a:t>туризм</a:t>
            </a:r>
            <a:endParaRPr kumimoji="0" lang="en-US" sz="1500" b="1" i="0" u="none" strike="noStrike" kern="0" cap="none" spc="0" normalizeH="0" baseline="0" noProof="0" dirty="0">
              <a:ln>
                <a:noFill/>
              </a:ln>
              <a:solidFill>
                <a:srgbClr val="FFFFFF"/>
              </a:solidFill>
              <a:effectLst/>
              <a:uLnTx/>
              <a:uFillTx/>
              <a:latin typeface="Arial"/>
              <a:cs typeface="Arial" pitchFamily="34" charset="0"/>
            </a:endParaRPr>
          </a:p>
        </p:txBody>
      </p:sp>
      <p:cxnSp>
        <p:nvCxnSpPr>
          <p:cNvPr id="15" name="Straight Connector 14"/>
          <p:cNvCxnSpPr/>
          <p:nvPr/>
        </p:nvCxnSpPr>
        <p:spPr>
          <a:xfrm>
            <a:off x="0" y="1027326"/>
            <a:ext cx="9144000"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0" y="6450384"/>
            <a:ext cx="7706983"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sp>
        <p:nvSpPr>
          <p:cNvPr id="20" name="Rectangle 8"/>
          <p:cNvSpPr>
            <a:spLocks noChangeArrowheads="1"/>
          </p:cNvSpPr>
          <p:nvPr/>
        </p:nvSpPr>
        <p:spPr bwMode="gray">
          <a:xfrm>
            <a:off x="250825" y="2184296"/>
            <a:ext cx="2900804" cy="3994998"/>
          </a:xfrm>
          <a:prstGeom prst="rect">
            <a:avLst/>
          </a:prstGeom>
          <a:noFill/>
          <a:ln w="6350">
            <a:solidFill>
              <a:srgbClr val="002960"/>
            </a:solidFill>
            <a:miter lim="800000"/>
            <a:headEnd/>
            <a:tailEnd/>
          </a:ln>
        </p:spPr>
        <p:txBody>
          <a:bodyPr wrap="square" lIns="91440" tIns="91440" rIns="0" bIns="0" anchorCtr="0">
            <a:noAutofit/>
          </a:bodyPr>
          <a:lstStyle/>
          <a:p>
            <a:pPr marL="171450" indent="-171450" defTabSz="966788" eaLnBrk="0" hangingPunct="0">
              <a:lnSpc>
                <a:spcPct val="90000"/>
              </a:lnSpc>
              <a:spcBef>
                <a:spcPts val="900"/>
              </a:spcBef>
              <a:buClr>
                <a:srgbClr val="FF6600"/>
              </a:buClr>
              <a:buSzPct val="100000"/>
              <a:buFont typeface="Arial" pitchFamily="34" charset="0"/>
              <a:buChar char="•"/>
            </a:pPr>
            <a:r>
              <a:rPr lang="ru-RU" sz="1300" b="1" kern="0" noProof="0" dirty="0">
                <a:solidFill>
                  <a:sysClr val="windowText" lastClr="000000"/>
                </a:solidFill>
                <a:latin typeface="Arial"/>
                <a:cs typeface="Arial" pitchFamily="34" charset="0"/>
              </a:rPr>
              <a:t>Темпы развития туризма </a:t>
            </a:r>
            <a:r>
              <a:rPr lang="ru-RU" sz="1300" b="1" kern="0" dirty="0">
                <a:solidFill>
                  <a:sysClr val="windowText" lastClr="000000"/>
                </a:solidFill>
                <a:latin typeface="Arial"/>
                <a:cs typeface="Arial" pitchFamily="34" charset="0"/>
              </a:rPr>
              <a:t>– </a:t>
            </a:r>
            <a:r>
              <a:rPr lang="en-US" sz="1300" kern="0" noProof="0" dirty="0">
                <a:solidFill>
                  <a:sysClr val="windowText" lastClr="000000"/>
                </a:solidFill>
                <a:latin typeface="Arial"/>
                <a:cs typeface="Arial" pitchFamily="34" charset="0"/>
              </a:rPr>
              <a:t>11</a:t>
            </a:r>
            <a:r>
              <a:rPr lang="ru-RU" sz="1300" kern="0" noProof="0" dirty="0">
                <a:solidFill>
                  <a:sysClr val="windowText" lastClr="000000"/>
                </a:solidFill>
                <a:latin typeface="Arial"/>
                <a:cs typeface="Arial" pitchFamily="34" charset="0"/>
              </a:rPr>
              <a:t>,</a:t>
            </a:r>
            <a:r>
              <a:rPr lang="en-US" sz="1300" kern="0" noProof="0" dirty="0">
                <a:solidFill>
                  <a:sysClr val="windowText" lastClr="000000"/>
                </a:solidFill>
                <a:latin typeface="Arial"/>
                <a:cs typeface="Arial" pitchFamily="34" charset="0"/>
              </a:rPr>
              <a:t>2% </a:t>
            </a:r>
            <a:r>
              <a:rPr lang="ru-RU" sz="1300" kern="0" noProof="0" dirty="0">
                <a:solidFill>
                  <a:sysClr val="windowText" lastClr="000000"/>
                </a:solidFill>
                <a:latin typeface="Arial"/>
                <a:cs typeface="Arial" pitchFamily="34" charset="0"/>
              </a:rPr>
              <a:t>в год за последнее 10-летие</a:t>
            </a:r>
            <a:r>
              <a:rPr lang="en-US" sz="1300" kern="0" noProof="0" dirty="0">
                <a:solidFill>
                  <a:sysClr val="windowText" lastClr="000000"/>
                </a:solidFill>
                <a:latin typeface="Arial"/>
                <a:cs typeface="Arial" pitchFamily="34" charset="0"/>
              </a:rPr>
              <a:t>, </a:t>
            </a:r>
            <a:r>
              <a:rPr lang="ru-RU" sz="1300" kern="0" noProof="0" dirty="0">
                <a:solidFill>
                  <a:sysClr val="windowText" lastClr="000000"/>
                </a:solidFill>
                <a:latin typeface="Arial"/>
                <a:cs typeface="Arial" pitchFamily="34" charset="0"/>
              </a:rPr>
              <a:t>планируется рост до </a:t>
            </a:r>
            <a:r>
              <a:rPr lang="en-US" sz="1300" kern="0" noProof="0" dirty="0">
                <a:solidFill>
                  <a:sysClr val="windowText" lastClr="000000"/>
                </a:solidFill>
                <a:latin typeface="Arial"/>
                <a:cs typeface="Arial" pitchFamily="34" charset="0"/>
              </a:rPr>
              <a:t>25% </a:t>
            </a:r>
            <a:r>
              <a:rPr lang="ru-RU" sz="1300" kern="0" noProof="0" dirty="0">
                <a:solidFill>
                  <a:sysClr val="windowText" lastClr="000000"/>
                </a:solidFill>
                <a:latin typeface="Arial"/>
                <a:cs typeface="Arial" pitchFamily="34" charset="0"/>
              </a:rPr>
              <a:t>к </a:t>
            </a:r>
            <a:r>
              <a:rPr lang="en-US" sz="1300" kern="0" noProof="0" dirty="0">
                <a:solidFill>
                  <a:sysClr val="windowText" lastClr="000000"/>
                </a:solidFill>
                <a:latin typeface="Arial"/>
                <a:cs typeface="Arial" pitchFamily="34" charset="0"/>
              </a:rPr>
              <a:t>2018</a:t>
            </a:r>
            <a:r>
              <a:rPr lang="ru-RU" sz="1300" kern="0" noProof="0" dirty="0">
                <a:solidFill>
                  <a:sysClr val="windowText" lastClr="000000"/>
                </a:solidFill>
                <a:latin typeface="Arial"/>
                <a:cs typeface="Arial" pitchFamily="34" charset="0"/>
              </a:rPr>
              <a:t>г</a:t>
            </a:r>
            <a:r>
              <a:rPr lang="en-US" sz="1300" kern="0" noProof="0" dirty="0">
                <a:solidFill>
                  <a:sysClr val="windowText" lastClr="000000"/>
                </a:solidFill>
                <a:latin typeface="Arial"/>
                <a:cs typeface="Arial" pitchFamily="34" charset="0"/>
              </a:rPr>
              <a:t>.</a:t>
            </a:r>
          </a:p>
          <a:p>
            <a:pPr marL="171450" indent="-171450" defTabSz="966788" eaLnBrk="0" hangingPunct="0">
              <a:lnSpc>
                <a:spcPct val="90000"/>
              </a:lnSpc>
              <a:spcBef>
                <a:spcPts val="900"/>
              </a:spcBef>
              <a:buClr>
                <a:srgbClr val="FF6600"/>
              </a:buClr>
              <a:buSzPct val="100000"/>
              <a:buFont typeface="Arial" pitchFamily="34" charset="0"/>
              <a:buChar char="•"/>
            </a:pPr>
            <a:r>
              <a:rPr lang="ru-RU" sz="1300" kern="0" dirty="0">
                <a:solidFill>
                  <a:sysClr val="windowText" lastClr="000000"/>
                </a:solidFill>
                <a:latin typeface="Arial"/>
                <a:cs typeface="Arial" pitchFamily="34" charset="0"/>
              </a:rPr>
              <a:t>За последние 10 лет число туристов увеличилось с </a:t>
            </a:r>
            <a:r>
              <a:rPr lang="en-US" sz="1300" b="1" kern="0" dirty="0">
                <a:solidFill>
                  <a:sysClr val="windowText" lastClr="000000"/>
                </a:solidFill>
                <a:latin typeface="Arial"/>
                <a:cs typeface="Arial" pitchFamily="34" charset="0"/>
              </a:rPr>
              <a:t>499 </a:t>
            </a:r>
            <a:r>
              <a:rPr lang="ru-RU" sz="1300" b="1" kern="0" dirty="0">
                <a:solidFill>
                  <a:sysClr val="windowText" lastClr="000000"/>
                </a:solidFill>
                <a:latin typeface="Arial"/>
                <a:cs typeface="Arial" pitchFamily="34" charset="0"/>
              </a:rPr>
              <a:t>до</a:t>
            </a:r>
            <a:r>
              <a:rPr lang="en-US" sz="1300" b="1" kern="0" dirty="0">
                <a:solidFill>
                  <a:sysClr val="windowText" lastClr="000000"/>
                </a:solidFill>
                <a:latin typeface="Arial"/>
                <a:cs typeface="Arial" pitchFamily="34" charset="0"/>
              </a:rPr>
              <a:t> 1.3</a:t>
            </a:r>
            <a:r>
              <a:rPr lang="ru-RU" sz="1300" b="1" kern="0" dirty="0">
                <a:solidFill>
                  <a:sysClr val="windowText" lastClr="000000"/>
                </a:solidFill>
                <a:latin typeface="Arial"/>
                <a:cs typeface="Arial" pitchFamily="34" charset="0"/>
              </a:rPr>
              <a:t>М</a:t>
            </a:r>
            <a:r>
              <a:rPr lang="en-US" sz="1300" b="1" kern="0" dirty="0">
                <a:solidFill>
                  <a:sysClr val="windowText" lastClr="000000"/>
                </a:solidFill>
                <a:latin typeface="Arial"/>
                <a:cs typeface="Arial" pitchFamily="34" charset="0"/>
              </a:rPr>
              <a:t>.</a:t>
            </a:r>
          </a:p>
          <a:p>
            <a:pPr marL="171450" indent="-171450" defTabSz="966788" eaLnBrk="0" hangingPunct="0">
              <a:lnSpc>
                <a:spcPct val="90000"/>
              </a:lnSpc>
              <a:spcBef>
                <a:spcPts val="900"/>
              </a:spcBef>
              <a:buClr>
                <a:srgbClr val="FF6600"/>
              </a:buClr>
              <a:buSzPct val="100000"/>
              <a:buFont typeface="Arial" pitchFamily="34" charset="0"/>
              <a:buChar char="•"/>
            </a:pPr>
            <a:r>
              <a:rPr lang="ru-RU" sz="1300" kern="0" dirty="0">
                <a:solidFill>
                  <a:sysClr val="windowText" lastClr="000000"/>
                </a:solidFill>
                <a:latin typeface="Arial"/>
                <a:cs typeface="Arial" pitchFamily="34" charset="0"/>
              </a:rPr>
              <a:t>Руанда планирует стать региональным центром по обеспечению медицинских услуг высшего качества путем внедрения передовых систем здравоохранения и лучшего </a:t>
            </a:r>
            <a:r>
              <a:rPr lang="ru-RU" sz="1300" kern="0" dirty="0" err="1">
                <a:solidFill>
                  <a:sysClr val="windowText" lastClr="000000"/>
                </a:solidFill>
                <a:latin typeface="Arial"/>
                <a:cs typeface="Arial" pitchFamily="34" charset="0"/>
              </a:rPr>
              <a:t>мед.оборудования</a:t>
            </a:r>
            <a:r>
              <a:rPr lang="ru-RU" sz="1300" kern="0" dirty="0">
                <a:solidFill>
                  <a:sysClr val="windowText" lastClr="000000"/>
                </a:solidFill>
                <a:latin typeface="Arial"/>
                <a:cs typeface="Arial" pitchFamily="34" charset="0"/>
              </a:rPr>
              <a:t> </a:t>
            </a:r>
          </a:p>
          <a:p>
            <a:pPr marL="171450" indent="-171450" defTabSz="966788" eaLnBrk="0" hangingPunct="0">
              <a:lnSpc>
                <a:spcPct val="90000"/>
              </a:lnSpc>
              <a:spcBef>
                <a:spcPts val="900"/>
              </a:spcBef>
              <a:buClr>
                <a:srgbClr val="FF6600"/>
              </a:buClr>
              <a:buSzPct val="100000"/>
              <a:buFont typeface="Arial" pitchFamily="34" charset="0"/>
              <a:buChar char="•"/>
            </a:pPr>
            <a:r>
              <a:rPr lang="ru-RU" sz="1300" kern="0" dirty="0">
                <a:solidFill>
                  <a:sysClr val="windowText" lastClr="000000"/>
                </a:solidFill>
                <a:latin typeface="Arial"/>
                <a:cs typeface="Arial" pitchFamily="34" charset="0"/>
              </a:rPr>
              <a:t>В Руанде введена система  широкопрофильного </a:t>
            </a:r>
            <a:r>
              <a:rPr lang="ru-RU" sz="1300" kern="0" dirty="0" err="1">
                <a:solidFill>
                  <a:sysClr val="windowText" lastClr="000000"/>
                </a:solidFill>
                <a:latin typeface="Arial"/>
                <a:cs typeface="Arial" pitchFamily="34" charset="0"/>
              </a:rPr>
              <a:t>мед.обслуживания</a:t>
            </a:r>
            <a:r>
              <a:rPr lang="ru-RU" sz="1300" kern="0" dirty="0">
                <a:solidFill>
                  <a:sysClr val="windowText" lastClr="000000"/>
                </a:solidFill>
                <a:latin typeface="Arial"/>
                <a:cs typeface="Arial" pitchFamily="34" charset="0"/>
              </a:rPr>
              <a:t>, используется доставка медикаментов с помощью беспилотников компании</a:t>
            </a:r>
            <a:r>
              <a:rPr lang="ru-RU" sz="1300" b="1" kern="0" dirty="0">
                <a:solidFill>
                  <a:sysClr val="windowText" lastClr="000000"/>
                </a:solidFill>
                <a:latin typeface="Arial"/>
                <a:cs typeface="Arial" pitchFamily="34" charset="0"/>
              </a:rPr>
              <a:t> </a:t>
            </a:r>
            <a:r>
              <a:rPr lang="en-US" sz="1300" kern="0" dirty="0">
                <a:solidFill>
                  <a:sysClr val="windowText" lastClr="000000"/>
                </a:solidFill>
                <a:latin typeface="Arial"/>
                <a:cs typeface="Arial" pitchFamily="34" charset="0"/>
              </a:rPr>
              <a:t>Zipline International Inc.</a:t>
            </a:r>
          </a:p>
          <a:p>
            <a:pPr defTabSz="966788" eaLnBrk="0" hangingPunct="0">
              <a:lnSpc>
                <a:spcPct val="90000"/>
              </a:lnSpc>
              <a:spcBef>
                <a:spcPts val="900"/>
              </a:spcBef>
              <a:buClr>
                <a:srgbClr val="FF6600"/>
              </a:buClr>
              <a:buSzPct val="100000"/>
            </a:pPr>
            <a:endParaRPr lang="en-US" sz="1300" kern="0" dirty="0">
              <a:solidFill>
                <a:sysClr val="windowText" lastClr="000000"/>
              </a:solidFill>
              <a:latin typeface="Arial"/>
              <a:cs typeface="Arial" pitchFamily="34" charset="0"/>
            </a:endParaRPr>
          </a:p>
        </p:txBody>
      </p:sp>
    </p:spTree>
    <p:extLst>
      <p:ext uri="{BB962C8B-B14F-4D97-AF65-F5344CB8AC3E}">
        <p14:creationId xmlns:p14="http://schemas.microsoft.com/office/powerpoint/2010/main" val="15054672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A5013A8-F3E1-2C42-B42A-3ED798E2D4A7}" type="slidenum">
              <a:rPr lang="en-US" smtClean="0"/>
              <a:t>18</a:t>
            </a:fld>
            <a:endParaRPr lang="en-US"/>
          </a:p>
        </p:txBody>
      </p:sp>
      <p:pic>
        <p:nvPicPr>
          <p:cNvPr id="3" name="Picture 2" descr="RDB logo.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06983" y="5806941"/>
            <a:ext cx="1186192" cy="1051708"/>
          </a:xfrm>
          <a:prstGeom prst="rect">
            <a:avLst/>
          </a:prstGeom>
        </p:spPr>
      </p:pic>
      <p:sp>
        <p:nvSpPr>
          <p:cNvPr id="4" name="Rectangle 3"/>
          <p:cNvSpPr/>
          <p:nvPr/>
        </p:nvSpPr>
        <p:spPr>
          <a:xfrm>
            <a:off x="4793047" y="2042380"/>
            <a:ext cx="4208340" cy="2104927"/>
          </a:xfrm>
          <a:prstGeom prst="rect">
            <a:avLst/>
          </a:prstGeom>
          <a:solidFill>
            <a:srgbClr val="C7E0FB"/>
          </a:solidFill>
        </p:spPr>
        <p:txBody>
          <a:bodyPr wrap="square" lIns="288000" tIns="73152" rIns="73152" bIns="73152" anchor="ctr">
            <a:noAutofit/>
          </a:bodyPr>
          <a:lstStyle/>
          <a:p>
            <a:pPr marL="171450" indent="-171450" defTabSz="914400" eaLnBrk="0" hangingPunct="0">
              <a:lnSpc>
                <a:spcPct val="90000"/>
              </a:lnSpc>
              <a:spcAft>
                <a:spcPts val="600"/>
              </a:spcAft>
              <a:buClr>
                <a:srgbClr val="FF6600"/>
              </a:buClr>
              <a:buSzPct val="100000"/>
              <a:buFont typeface="Arial" pitchFamily="34" charset="0"/>
              <a:buChar char="•"/>
            </a:pPr>
            <a:endParaRPr lang="en-US" sz="1200" kern="0" dirty="0">
              <a:solidFill>
                <a:sysClr val="windowText" lastClr="000000"/>
              </a:solidFill>
              <a:cs typeface="Arial" pitchFamily="34" charset="0"/>
            </a:endParaRPr>
          </a:p>
          <a:p>
            <a:pPr marL="171450" indent="-171450" defTabSz="914400" eaLnBrk="0" hangingPunct="0">
              <a:lnSpc>
                <a:spcPct val="90000"/>
              </a:lnSpc>
              <a:spcAft>
                <a:spcPts val="600"/>
              </a:spcAft>
              <a:buClr>
                <a:srgbClr val="FF6600"/>
              </a:buClr>
              <a:buSzPct val="100000"/>
              <a:buFont typeface="Arial" pitchFamily="34" charset="0"/>
              <a:buChar char="•"/>
            </a:pPr>
            <a:r>
              <a:rPr lang="ru-RU" sz="1200" kern="0" dirty="0">
                <a:solidFill>
                  <a:sysClr val="windowText" lastClr="000000"/>
                </a:solidFill>
                <a:cs typeface="Arial" pitchFamily="34" charset="0"/>
              </a:rPr>
              <a:t>ИКТ – основа руандийской технологичной инновационной экосистемы</a:t>
            </a:r>
            <a:r>
              <a:rPr lang="en-US" sz="1200" kern="0" dirty="0">
                <a:solidFill>
                  <a:sysClr val="windowText" lastClr="000000"/>
                </a:solidFill>
                <a:cs typeface="Arial" pitchFamily="34" charset="0"/>
              </a:rPr>
              <a:t>, </a:t>
            </a:r>
            <a:r>
              <a:rPr lang="ru-RU" sz="1200" kern="0" dirty="0">
                <a:solidFill>
                  <a:sysClr val="windowText" lastClr="000000"/>
                </a:solidFill>
                <a:cs typeface="Arial" pitchFamily="34" charset="0"/>
              </a:rPr>
              <a:t>развитие которой поддерживается руандийским фондом инноваций</a:t>
            </a:r>
            <a:r>
              <a:rPr lang="en-US" sz="1200" kern="0" dirty="0">
                <a:solidFill>
                  <a:sysClr val="windowText" lastClr="000000"/>
                </a:solidFill>
                <a:cs typeface="Arial" pitchFamily="34" charset="0"/>
              </a:rPr>
              <a:t>.</a:t>
            </a:r>
          </a:p>
          <a:p>
            <a:pPr marL="171450" indent="-171450" defTabSz="914400" eaLnBrk="0" hangingPunct="0">
              <a:lnSpc>
                <a:spcPct val="90000"/>
              </a:lnSpc>
              <a:spcAft>
                <a:spcPts val="600"/>
              </a:spcAft>
              <a:buClr>
                <a:srgbClr val="FF6600"/>
              </a:buClr>
              <a:buSzPct val="100000"/>
              <a:buFont typeface="Arial" pitchFamily="34" charset="0"/>
              <a:buChar char="•"/>
            </a:pPr>
            <a:r>
              <a:rPr lang="ru-RU" sz="1200" kern="0" noProof="0" dirty="0">
                <a:solidFill>
                  <a:sysClr val="windowText" lastClr="000000"/>
                </a:solidFill>
                <a:cs typeface="Arial" pitchFamily="34" charset="0"/>
              </a:rPr>
              <a:t>Расположен в С</a:t>
            </a:r>
            <a:r>
              <a:rPr lang="ru-RU" sz="1200" kern="0" dirty="0">
                <a:solidFill>
                  <a:sysClr val="windowText" lastClr="000000"/>
                </a:solidFill>
                <a:cs typeface="Arial" pitchFamily="34" charset="0"/>
              </a:rPr>
              <a:t>ЭЗ</a:t>
            </a:r>
            <a:r>
              <a:rPr lang="en-US" sz="1200" kern="0" noProof="0" dirty="0">
                <a:solidFill>
                  <a:sysClr val="windowText" lastClr="000000"/>
                </a:solidFill>
                <a:cs typeface="Arial" pitchFamily="34" charset="0"/>
              </a:rPr>
              <a:t>, </a:t>
            </a:r>
            <a:r>
              <a:rPr lang="ru-RU" sz="1200" kern="0" noProof="0" dirty="0">
                <a:solidFill>
                  <a:sysClr val="windowText" lastClr="000000"/>
                </a:solidFill>
                <a:cs typeface="Arial" pitchFamily="34" charset="0"/>
              </a:rPr>
              <a:t>занимает</a:t>
            </a:r>
            <a:r>
              <a:rPr lang="en-US" sz="1200" kern="0" noProof="0" dirty="0">
                <a:solidFill>
                  <a:sysClr val="windowText" lastClr="000000"/>
                </a:solidFill>
                <a:cs typeface="Arial" pitchFamily="34" charset="0"/>
              </a:rPr>
              <a:t> 62 </a:t>
            </a:r>
            <a:r>
              <a:rPr lang="ru-RU" sz="1200" kern="0" noProof="0" dirty="0">
                <a:solidFill>
                  <a:sysClr val="windowText" lastClr="000000"/>
                </a:solidFill>
                <a:cs typeface="Arial" pitchFamily="34" charset="0"/>
              </a:rPr>
              <a:t>га земли, на нем размещены лучшие учебные и научные институты </a:t>
            </a:r>
            <a:r>
              <a:rPr lang="en-US" sz="1200" kern="0" noProof="0" dirty="0">
                <a:solidFill>
                  <a:sysClr val="windowText" lastClr="000000"/>
                </a:solidFill>
                <a:cs typeface="Arial" pitchFamily="34" charset="0"/>
              </a:rPr>
              <a:t>(Carnegie Mellon, AIMS</a:t>
            </a:r>
            <a:r>
              <a:rPr lang="ru-RU" sz="1200" kern="0" dirty="0">
                <a:solidFill>
                  <a:sysClr val="windowText" lastClr="000000"/>
                </a:solidFill>
                <a:cs typeface="Arial" pitchFamily="34" charset="0"/>
              </a:rPr>
              <a:t>, </a:t>
            </a:r>
            <a:r>
              <a:rPr lang="en-US" sz="1200" kern="0" noProof="0" dirty="0">
                <a:solidFill>
                  <a:sysClr val="windowText" lastClr="000000"/>
                </a:solidFill>
                <a:cs typeface="Arial" pitchFamily="34" charset="0"/>
              </a:rPr>
              <a:t>ALU), </a:t>
            </a:r>
            <a:r>
              <a:rPr lang="ru-RU" sz="1200" kern="0" noProof="0" dirty="0">
                <a:solidFill>
                  <a:sysClr val="windowText" lastClr="000000"/>
                </a:solidFill>
                <a:cs typeface="Arial" pitchFamily="34" charset="0"/>
              </a:rPr>
              <a:t>научно-исследовательские центры и специализированная инфраструктура</a:t>
            </a:r>
            <a:r>
              <a:rPr lang="en-US" sz="1200" kern="0" noProof="0" dirty="0">
                <a:solidFill>
                  <a:sysClr val="windowText" lastClr="000000"/>
                </a:solidFill>
                <a:cs typeface="Arial" pitchFamily="34" charset="0"/>
              </a:rPr>
              <a:t>. </a:t>
            </a:r>
          </a:p>
          <a:p>
            <a:pPr marL="171450" indent="-171450" defTabSz="914400" eaLnBrk="0" hangingPunct="0">
              <a:lnSpc>
                <a:spcPct val="90000"/>
              </a:lnSpc>
              <a:spcAft>
                <a:spcPts val="600"/>
              </a:spcAft>
              <a:buClr>
                <a:srgbClr val="FF6600"/>
              </a:buClr>
              <a:buSzPct val="100000"/>
              <a:buFont typeface="Arial" pitchFamily="34" charset="0"/>
              <a:buChar char="•"/>
            </a:pPr>
            <a:r>
              <a:rPr lang="ru-RU" sz="1200" kern="0" dirty="0">
                <a:solidFill>
                  <a:sysClr val="windowText" lastClr="000000"/>
                </a:solidFill>
                <a:cs typeface="Arial" pitchFamily="34" charset="0"/>
              </a:rPr>
              <a:t>Возможности: с</a:t>
            </a:r>
            <a:r>
              <a:rPr lang="ru-RU" sz="1200" kern="0" noProof="0" dirty="0">
                <a:solidFill>
                  <a:sysClr val="windowText" lastClr="000000"/>
                </a:solidFill>
                <a:cs typeface="Arial" pitchFamily="34" charset="0"/>
              </a:rPr>
              <a:t>троительство, недвижимость, развитие науч.исследований</a:t>
            </a:r>
            <a:r>
              <a:rPr lang="ru-RU" sz="1200" kern="0" dirty="0">
                <a:solidFill>
                  <a:sysClr val="windowText" lastClr="000000"/>
                </a:solidFill>
                <a:cs typeface="Arial" pitchFamily="34" charset="0"/>
              </a:rPr>
              <a:t>,</a:t>
            </a:r>
            <a:r>
              <a:rPr lang="ru-RU" sz="1200" kern="0" noProof="0" dirty="0">
                <a:solidFill>
                  <a:sysClr val="windowText" lastClr="000000"/>
                </a:solidFill>
                <a:cs typeface="Arial" pitchFamily="34" charset="0"/>
              </a:rPr>
              <a:t> образование, банкинг и финансовые технологии</a:t>
            </a:r>
            <a:r>
              <a:rPr lang="en-US" sz="1200" kern="0" noProof="0" dirty="0">
                <a:solidFill>
                  <a:sysClr val="windowText" lastClr="000000"/>
                </a:solidFill>
                <a:cs typeface="Arial" pitchFamily="34" charset="0"/>
              </a:rPr>
              <a:t>, </a:t>
            </a:r>
            <a:r>
              <a:rPr lang="ru-RU" sz="1200" kern="0" noProof="0" dirty="0">
                <a:solidFill>
                  <a:sysClr val="windowText" lastClr="000000"/>
                </a:solidFill>
                <a:cs typeface="Arial" pitchFamily="34" charset="0"/>
              </a:rPr>
              <a:t>с/х технологии, энергетика</a:t>
            </a:r>
            <a:r>
              <a:rPr lang="en-US" sz="1200" kern="0" noProof="0" dirty="0">
                <a:solidFill>
                  <a:sysClr val="windowText" lastClr="000000"/>
                </a:solidFill>
                <a:cs typeface="Arial" pitchFamily="34" charset="0"/>
              </a:rPr>
              <a:t>, </a:t>
            </a:r>
            <a:r>
              <a:rPr lang="ru-RU" sz="1200" kern="0" dirty="0">
                <a:solidFill>
                  <a:sysClr val="windowText" lastClr="000000"/>
                </a:solidFill>
                <a:cs typeface="Arial" pitchFamily="34" charset="0"/>
              </a:rPr>
              <a:t>био-инжинеринг и медицина</a:t>
            </a:r>
            <a:r>
              <a:rPr lang="en-US" sz="1200" kern="0" noProof="0" dirty="0">
                <a:solidFill>
                  <a:sysClr val="windowText" lastClr="000000"/>
                </a:solidFill>
                <a:cs typeface="Arial" pitchFamily="34" charset="0"/>
              </a:rPr>
              <a:t>, </a:t>
            </a:r>
            <a:r>
              <a:rPr lang="ru-RU" sz="1200" kern="0" noProof="0" dirty="0">
                <a:solidFill>
                  <a:sysClr val="windowText" lastClr="000000"/>
                </a:solidFill>
                <a:cs typeface="Arial" pitchFamily="34" charset="0"/>
              </a:rPr>
              <a:t>логистика и кибербезопасность</a:t>
            </a:r>
            <a:r>
              <a:rPr lang="en-US" sz="1200" kern="0" noProof="0" dirty="0">
                <a:solidFill>
                  <a:sysClr val="windowText" lastClr="000000"/>
                </a:solidFill>
                <a:cs typeface="Arial" pitchFamily="34" charset="0"/>
              </a:rPr>
              <a:t>.</a:t>
            </a:r>
          </a:p>
          <a:p>
            <a:pPr marL="171450" indent="-171450" defTabSz="914400" eaLnBrk="0" hangingPunct="0">
              <a:lnSpc>
                <a:spcPct val="90000"/>
              </a:lnSpc>
              <a:spcAft>
                <a:spcPts val="600"/>
              </a:spcAft>
              <a:buClr>
                <a:srgbClr val="FF6600"/>
              </a:buClr>
              <a:buSzPct val="100000"/>
              <a:buFont typeface="Arial" pitchFamily="34" charset="0"/>
              <a:buChar char="•"/>
            </a:pPr>
            <a:endParaRPr lang="en-US" sz="1200" kern="0" noProof="0" dirty="0">
              <a:solidFill>
                <a:sysClr val="windowText" lastClr="000000"/>
              </a:solidFill>
              <a:cs typeface="Arial" pitchFamily="34" charset="0"/>
            </a:endParaRPr>
          </a:p>
        </p:txBody>
      </p:sp>
      <p:sp>
        <p:nvSpPr>
          <p:cNvPr id="5" name="Rectangle 4"/>
          <p:cNvSpPr/>
          <p:nvPr/>
        </p:nvSpPr>
        <p:spPr>
          <a:xfrm>
            <a:off x="4793047" y="4279779"/>
            <a:ext cx="4208340" cy="1850115"/>
          </a:xfrm>
          <a:prstGeom prst="rect">
            <a:avLst/>
          </a:prstGeom>
          <a:solidFill>
            <a:srgbClr val="C7E0FB"/>
          </a:solidFill>
        </p:spPr>
        <p:txBody>
          <a:bodyPr wrap="square" lIns="288000" tIns="73152" rIns="73152" bIns="73152" anchor="ctr">
            <a:noAutofit/>
          </a:bodyPr>
          <a:lstStyle/>
          <a:p>
            <a:pPr marL="171450" lvl="0" indent="-171450" defTabSz="914400" eaLnBrk="0" hangingPunct="0">
              <a:lnSpc>
                <a:spcPct val="90000"/>
              </a:lnSpc>
              <a:spcAft>
                <a:spcPts val="600"/>
              </a:spcAft>
              <a:buClr>
                <a:srgbClr val="FF6600"/>
              </a:buClr>
              <a:buSzPct val="100000"/>
              <a:buFont typeface="Arial" pitchFamily="34" charset="0"/>
              <a:buChar char="•"/>
            </a:pPr>
            <a:r>
              <a:rPr lang="ru-RU" sz="1200" kern="0" dirty="0">
                <a:solidFill>
                  <a:sysClr val="windowText" lastClr="000000"/>
                </a:solidFill>
                <a:cs typeface="Arial" pitchFamily="34" charset="0"/>
              </a:rPr>
              <a:t>По оценкам, спрос на АБП услуги составляет </a:t>
            </a:r>
            <a:r>
              <a:rPr lang="en-US" sz="1200" b="1" kern="0" dirty="0">
                <a:solidFill>
                  <a:sysClr val="windowText" lastClr="000000"/>
                </a:solidFill>
                <a:cs typeface="Arial" pitchFamily="34" charset="0"/>
              </a:rPr>
              <a:t>$50</a:t>
            </a:r>
            <a:r>
              <a:rPr lang="ru-RU" sz="1200" b="1" kern="0" dirty="0">
                <a:solidFill>
                  <a:sysClr val="windowText" lastClr="000000"/>
                </a:solidFill>
                <a:cs typeface="Arial" pitchFamily="34" charset="0"/>
              </a:rPr>
              <a:t>М</a:t>
            </a:r>
            <a:r>
              <a:rPr lang="en-US" sz="1200" b="1" kern="0" dirty="0">
                <a:solidFill>
                  <a:sysClr val="windowText" lastClr="000000"/>
                </a:solidFill>
                <a:cs typeface="Arial" pitchFamily="34" charset="0"/>
              </a:rPr>
              <a:t>, </a:t>
            </a:r>
            <a:r>
              <a:rPr lang="ru-RU" sz="1200" b="1" kern="0" dirty="0">
                <a:solidFill>
                  <a:sysClr val="windowText" lastClr="000000"/>
                </a:solidFill>
                <a:cs typeface="Arial" pitchFamily="34" charset="0"/>
              </a:rPr>
              <a:t>с ожидаемым ростом до </a:t>
            </a:r>
            <a:r>
              <a:rPr lang="en-US" sz="1200" b="1" kern="0" dirty="0">
                <a:solidFill>
                  <a:sysClr val="windowText" lastClr="000000"/>
                </a:solidFill>
                <a:cs typeface="Arial" pitchFamily="34" charset="0"/>
              </a:rPr>
              <a:t>$200</a:t>
            </a:r>
            <a:r>
              <a:rPr lang="ru-RU" sz="1200" b="1" kern="0" dirty="0">
                <a:solidFill>
                  <a:sysClr val="windowText" lastClr="000000"/>
                </a:solidFill>
                <a:cs typeface="Arial" pitchFamily="34" charset="0"/>
              </a:rPr>
              <a:t>М к </a:t>
            </a:r>
            <a:r>
              <a:rPr lang="en-US" sz="1200" b="1" kern="0" dirty="0">
                <a:solidFill>
                  <a:sysClr val="windowText" lastClr="000000"/>
                </a:solidFill>
                <a:cs typeface="Arial" pitchFamily="34" charset="0"/>
              </a:rPr>
              <a:t>2020</a:t>
            </a:r>
            <a:r>
              <a:rPr lang="ru-RU" sz="1200" b="1" kern="0" dirty="0">
                <a:solidFill>
                  <a:sysClr val="windowText" lastClr="000000"/>
                </a:solidFill>
                <a:cs typeface="Arial" pitchFamily="34" charset="0"/>
              </a:rPr>
              <a:t>г с возможностью увеличения до </a:t>
            </a:r>
            <a:r>
              <a:rPr lang="en-US" sz="1200" b="1" kern="0" dirty="0">
                <a:solidFill>
                  <a:sysClr val="windowText" lastClr="000000"/>
                </a:solidFill>
                <a:cs typeface="Arial" pitchFamily="34" charset="0"/>
              </a:rPr>
              <a:t>$275 </a:t>
            </a:r>
            <a:r>
              <a:rPr lang="ru-RU" sz="1200" kern="0" dirty="0">
                <a:solidFill>
                  <a:sysClr val="windowText" lastClr="000000"/>
                </a:solidFill>
                <a:cs typeface="Arial" pitchFamily="34" charset="0"/>
              </a:rPr>
              <a:t>при охвате внутреннего и региональных рынков</a:t>
            </a:r>
            <a:r>
              <a:rPr lang="en-US" sz="1200" kern="0" dirty="0">
                <a:solidFill>
                  <a:sysClr val="windowText" lastClr="000000"/>
                </a:solidFill>
                <a:cs typeface="Arial" pitchFamily="34" charset="0"/>
              </a:rPr>
              <a:t>.</a:t>
            </a:r>
            <a:endParaRPr lang="ru-RU" sz="1200" kern="0" dirty="0">
              <a:solidFill>
                <a:sysClr val="windowText" lastClr="000000"/>
              </a:solidFill>
              <a:cs typeface="Arial" pitchFamily="34" charset="0"/>
            </a:endParaRPr>
          </a:p>
          <a:p>
            <a:pPr marL="171450" lvl="0" indent="-171450" defTabSz="914400" eaLnBrk="0" hangingPunct="0">
              <a:lnSpc>
                <a:spcPct val="90000"/>
              </a:lnSpc>
              <a:spcAft>
                <a:spcPts val="600"/>
              </a:spcAft>
              <a:buClr>
                <a:srgbClr val="FF6600"/>
              </a:buClr>
              <a:buSzPct val="100000"/>
              <a:buFont typeface="Arial" pitchFamily="34" charset="0"/>
              <a:buChar char="•"/>
            </a:pPr>
            <a:r>
              <a:rPr lang="ru-RU" sz="1200" kern="0" dirty="0">
                <a:solidFill>
                  <a:sysClr val="windowText" lastClr="000000"/>
                </a:solidFill>
                <a:cs typeface="Arial" pitchFamily="34" charset="0"/>
              </a:rPr>
              <a:t>Правительство ищет потенциальных зарубежных инвесторов для развития АБП услуг</a:t>
            </a:r>
            <a:r>
              <a:rPr lang="en-US" sz="1200" kern="0" dirty="0">
                <a:solidFill>
                  <a:sysClr val="windowText" lastClr="000000"/>
                </a:solidFill>
                <a:cs typeface="Arial" pitchFamily="34" charset="0"/>
              </a:rPr>
              <a:t>, </a:t>
            </a:r>
            <a:r>
              <a:rPr lang="ru-RU" sz="1200" kern="0" dirty="0">
                <a:solidFill>
                  <a:sysClr val="windowText" lastClr="000000"/>
                </a:solidFill>
                <a:cs typeface="Arial" pitchFamily="34" charset="0"/>
              </a:rPr>
              <a:t>особенно в быстроразвивающихся отраслях, таких как </a:t>
            </a:r>
            <a:r>
              <a:rPr lang="ru-RU" sz="1200" b="1" kern="0" dirty="0">
                <a:solidFill>
                  <a:sysClr val="windowText" lastClr="000000"/>
                </a:solidFill>
                <a:cs typeface="Arial" pitchFamily="34" charset="0"/>
              </a:rPr>
              <a:t>телекоммуникации, туризм, финансы и государственное управление</a:t>
            </a:r>
            <a:r>
              <a:rPr lang="en-US" sz="1200" b="1" kern="0" dirty="0">
                <a:solidFill>
                  <a:sysClr val="windowText" lastClr="000000"/>
                </a:solidFill>
                <a:cs typeface="Arial" pitchFamily="34" charset="0"/>
              </a:rPr>
              <a:t>. </a:t>
            </a:r>
          </a:p>
          <a:p>
            <a:pPr marL="171450" lvl="0" indent="-171450" defTabSz="914400" eaLnBrk="0" hangingPunct="0">
              <a:lnSpc>
                <a:spcPct val="90000"/>
              </a:lnSpc>
              <a:spcAft>
                <a:spcPts val="600"/>
              </a:spcAft>
              <a:buClr>
                <a:srgbClr val="FF6600"/>
              </a:buClr>
              <a:buSzPct val="100000"/>
              <a:buFont typeface="Arial" pitchFamily="34" charset="0"/>
              <a:buChar char="•"/>
            </a:pPr>
            <a:endParaRPr lang="en-US" sz="1200" kern="0" dirty="0">
              <a:solidFill>
                <a:sysClr val="windowText" lastClr="000000"/>
              </a:solidFill>
              <a:cs typeface="Arial" pitchFamily="34" charset="0"/>
            </a:endParaRPr>
          </a:p>
        </p:txBody>
      </p:sp>
      <p:sp>
        <p:nvSpPr>
          <p:cNvPr id="7" name="Title 3"/>
          <p:cNvSpPr txBox="1">
            <a:spLocks/>
          </p:cNvSpPr>
          <p:nvPr/>
        </p:nvSpPr>
        <p:spPr bwMode="auto">
          <a:xfrm>
            <a:off x="250825" y="266947"/>
            <a:ext cx="8642350"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ct val="90000"/>
              </a:lnSpc>
              <a:spcBef>
                <a:spcPct val="0"/>
              </a:spcBef>
              <a:spcAft>
                <a:spcPct val="0"/>
              </a:spcAft>
              <a:defRPr sz="2400" b="1" kern="1200">
                <a:solidFill>
                  <a:schemeClr val="tx2"/>
                </a:solidFill>
                <a:latin typeface="Arial"/>
                <a:ea typeface="+mj-ea"/>
                <a:cs typeface="Arial"/>
                <a:sym typeface="Arial"/>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ru-RU" sz="2800" dirty="0">
                <a:solidFill>
                  <a:srgbClr val="002960"/>
                </a:solidFill>
              </a:rPr>
              <a:t>ИКТ</a:t>
            </a:r>
            <a:endParaRPr kumimoji="0" lang="en-GB" sz="2800" b="1" i="0" u="none" strike="noStrike" kern="1200" cap="none" spc="0" normalizeH="0" baseline="0" noProof="0" dirty="0">
              <a:ln>
                <a:noFill/>
              </a:ln>
              <a:solidFill>
                <a:srgbClr val="002960"/>
              </a:solidFill>
              <a:effectLst/>
              <a:uLnTx/>
              <a:uFillTx/>
              <a:sym typeface="Arial"/>
            </a:endParaRPr>
          </a:p>
        </p:txBody>
      </p:sp>
      <p:sp>
        <p:nvSpPr>
          <p:cNvPr id="9" name="Rectangle 8"/>
          <p:cNvSpPr/>
          <p:nvPr/>
        </p:nvSpPr>
        <p:spPr>
          <a:xfrm>
            <a:off x="3275855" y="1347814"/>
            <a:ext cx="5725532" cy="425423"/>
          </a:xfrm>
          <a:prstGeom prst="rect">
            <a:avLst/>
          </a:prstGeom>
          <a:solidFill>
            <a:srgbClr val="002960"/>
          </a:solidFill>
          <a:ln w="9525" cap="flat" cmpd="sng" algn="ctr">
            <a:solidFill>
              <a:srgbClr val="002960"/>
            </a:solidFill>
            <a:prstDash val="solid"/>
          </a:ln>
          <a:effectLst/>
          <a:extLst/>
        </p:spPr>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pPr lvl="0" algn="ctr" defTabSz="914400" fontAlgn="base">
              <a:lnSpc>
                <a:spcPct val="90000"/>
              </a:lnSpc>
              <a:spcBef>
                <a:spcPct val="0"/>
              </a:spcBef>
              <a:spcAft>
                <a:spcPct val="0"/>
              </a:spcAft>
              <a:defRPr/>
            </a:pPr>
            <a:r>
              <a:rPr lang="ru-RU" sz="1600" b="1" kern="0" dirty="0">
                <a:solidFill>
                  <a:srgbClr val="FFFFFF"/>
                </a:solidFill>
                <a:latin typeface="Arial"/>
                <a:cs typeface="Arial"/>
              </a:rPr>
              <a:t>Инвестиционные возможности</a:t>
            </a:r>
            <a:endParaRPr lang="en-US" sz="1600" b="1" kern="0" dirty="0">
              <a:solidFill>
                <a:srgbClr val="FFFFFF"/>
              </a:solidFill>
              <a:latin typeface="Arial"/>
              <a:cs typeface="Arial"/>
            </a:endParaRPr>
          </a:p>
        </p:txBody>
      </p:sp>
      <p:sp>
        <p:nvSpPr>
          <p:cNvPr id="10" name="Pentagon 9"/>
          <p:cNvSpPr/>
          <p:nvPr/>
        </p:nvSpPr>
        <p:spPr>
          <a:xfrm>
            <a:off x="203597" y="1361758"/>
            <a:ext cx="2900804" cy="411480"/>
          </a:xfrm>
          <a:prstGeom prst="homePlate">
            <a:avLst>
              <a:gd name="adj" fmla="val 19760"/>
            </a:avLst>
          </a:prstGeom>
          <a:solidFill>
            <a:srgbClr val="002960"/>
          </a:solidFill>
          <a:ln w="6350">
            <a:solidFill>
              <a:srgbClr val="002960"/>
            </a:solidFill>
            <a:miter lim="800000"/>
            <a:headEnd/>
            <a:tailEnd/>
          </a:ln>
        </p:spPr>
        <p:txBody>
          <a:bodyPr lIns="72000" tIns="72000" rIns="72000" bIns="72000" anchor="ctr"/>
          <a:lstStyle/>
          <a:p>
            <a:pPr lvl="0" algn="ctr" defTabSz="914400" eaLnBrk="0" hangingPunct="0">
              <a:lnSpc>
                <a:spcPct val="90000"/>
              </a:lnSpc>
              <a:spcBef>
                <a:spcPct val="0"/>
              </a:spcBef>
              <a:defRPr/>
            </a:pPr>
            <a:r>
              <a:rPr lang="ru-RU" sz="1600" b="1" kern="0" dirty="0">
                <a:solidFill>
                  <a:srgbClr val="FFFFFF"/>
                </a:solidFill>
                <a:latin typeface="Arial"/>
                <a:cs typeface="Arial" pitchFamily="34" charset="0"/>
              </a:rPr>
              <a:t>Обзор</a:t>
            </a:r>
            <a:endParaRPr kumimoji="0" lang="en-US" sz="1600" b="1" i="0" u="none" strike="noStrike" kern="0" cap="none" spc="0" normalizeH="0" baseline="0" noProof="0" dirty="0">
              <a:ln>
                <a:noFill/>
              </a:ln>
              <a:solidFill>
                <a:srgbClr val="FFFFFF"/>
              </a:solidFill>
              <a:effectLst/>
              <a:uLnTx/>
              <a:uFillTx/>
              <a:latin typeface="Arial"/>
              <a:cs typeface="Arial" pitchFamily="34" charset="0"/>
            </a:endParaRPr>
          </a:p>
        </p:txBody>
      </p:sp>
      <p:sp>
        <p:nvSpPr>
          <p:cNvPr id="11" name="Rectangle 8"/>
          <p:cNvSpPr>
            <a:spLocks noChangeArrowheads="1"/>
          </p:cNvSpPr>
          <p:nvPr/>
        </p:nvSpPr>
        <p:spPr bwMode="gray">
          <a:xfrm>
            <a:off x="234255" y="1882890"/>
            <a:ext cx="2834791" cy="4383685"/>
          </a:xfrm>
          <a:prstGeom prst="rect">
            <a:avLst/>
          </a:prstGeom>
          <a:noFill/>
          <a:ln w="6350">
            <a:solidFill>
              <a:srgbClr val="002960"/>
            </a:solidFill>
            <a:miter lim="800000"/>
            <a:headEnd/>
            <a:tailEnd/>
          </a:ln>
        </p:spPr>
        <p:txBody>
          <a:bodyPr wrap="square" lIns="91440" tIns="91440" rIns="0" bIns="0" anchorCtr="0">
            <a:noAutofit/>
          </a:bodyPr>
          <a:lstStyle/>
          <a:p>
            <a:pPr marL="171450" marR="0" lvl="0" indent="-171450" defTabSz="966788" eaLnBrk="0" fontAlgn="auto" latinLnBrk="0" hangingPunct="0">
              <a:lnSpc>
                <a:spcPct val="90000"/>
              </a:lnSpc>
              <a:spcBef>
                <a:spcPts val="900"/>
              </a:spcBef>
              <a:spcAft>
                <a:spcPts val="0"/>
              </a:spcAft>
              <a:buClr>
                <a:srgbClr val="FF6600"/>
              </a:buClr>
              <a:buSzPct val="100000"/>
              <a:buFont typeface="Arial" pitchFamily="34" charset="0"/>
              <a:buChar char="•"/>
              <a:tabLst/>
              <a:defRPr/>
            </a:pPr>
            <a:endParaRPr kumimoji="0" lang="en-US" sz="1400" b="0" i="0" u="none" strike="noStrike" kern="0" cap="none" spc="0" normalizeH="0" baseline="0" noProof="0" dirty="0">
              <a:ln>
                <a:noFill/>
              </a:ln>
              <a:solidFill>
                <a:sysClr val="windowText" lastClr="000000"/>
              </a:solidFill>
              <a:effectLst/>
              <a:uLnTx/>
              <a:uFillTx/>
              <a:latin typeface="Arial"/>
              <a:cs typeface="Arial" pitchFamily="34" charset="0"/>
            </a:endParaRPr>
          </a:p>
        </p:txBody>
      </p:sp>
      <p:sp>
        <p:nvSpPr>
          <p:cNvPr id="12" name="Pentagon 11"/>
          <p:cNvSpPr/>
          <p:nvPr/>
        </p:nvSpPr>
        <p:spPr>
          <a:xfrm>
            <a:off x="3275855" y="2042380"/>
            <a:ext cx="1887165" cy="2104927"/>
          </a:xfrm>
          <a:prstGeom prst="homePlate">
            <a:avLst>
              <a:gd name="adj" fmla="val 19760"/>
            </a:avLst>
          </a:prstGeom>
          <a:solidFill>
            <a:srgbClr val="0066CC"/>
          </a:solidFill>
          <a:ln w="6350">
            <a:noFill/>
            <a:miter lim="800000"/>
            <a:headEnd/>
            <a:tailEnd/>
          </a:ln>
        </p:spPr>
        <p:txBody>
          <a:bodyPr lIns="72000" tIns="72000" rIns="7200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err="1">
                <a:solidFill>
                  <a:srgbClr val="FFFFFF"/>
                </a:solidFill>
                <a:latin typeface="Arial"/>
                <a:cs typeface="Arial" pitchFamily="34" charset="0"/>
              </a:rPr>
              <a:t>Инновацион-ный</a:t>
            </a:r>
            <a:r>
              <a:rPr lang="ru-RU" sz="1500" b="1" kern="0" dirty="0">
                <a:solidFill>
                  <a:srgbClr val="FFFFFF"/>
                </a:solidFill>
                <a:latin typeface="Arial"/>
                <a:cs typeface="Arial" pitchFamily="34" charset="0"/>
              </a:rPr>
              <a:t> центр Кигали-Сити</a:t>
            </a:r>
            <a:r>
              <a:rPr lang="en-US" sz="1500" b="1" kern="0" dirty="0">
                <a:solidFill>
                  <a:srgbClr val="FFFFFF"/>
                </a:solidFill>
                <a:latin typeface="Arial"/>
                <a:cs typeface="Arial" pitchFamily="34" charset="0"/>
              </a:rPr>
              <a:t> </a:t>
            </a:r>
          </a:p>
          <a:p>
            <a:pPr marL="0" marR="0" lvl="0" indent="0" defTabSz="914400" eaLnBrk="0" fontAlgn="auto" latinLnBrk="0" hangingPunct="0">
              <a:lnSpc>
                <a:spcPct val="90000"/>
              </a:lnSpc>
              <a:spcBef>
                <a:spcPct val="0"/>
              </a:spcBef>
              <a:spcAft>
                <a:spcPts val="0"/>
              </a:spcAft>
              <a:buClrTx/>
              <a:buSzTx/>
              <a:buFontTx/>
              <a:buNone/>
              <a:tabLst/>
              <a:defRPr/>
            </a:pPr>
            <a:endParaRPr lang="en-US" sz="1500" b="1" kern="0" dirty="0">
              <a:solidFill>
                <a:srgbClr val="FFFFFF"/>
              </a:solidFill>
              <a:latin typeface="Arial"/>
              <a:cs typeface="Arial" pitchFamily="34" charset="0"/>
            </a:endParaRPr>
          </a:p>
          <a:p>
            <a:pPr marL="0" marR="0" lvl="0" indent="0" defTabSz="914400" eaLnBrk="0" fontAlgn="auto" latinLnBrk="0" hangingPunct="0">
              <a:lnSpc>
                <a:spcPct val="90000"/>
              </a:lnSpc>
              <a:spcBef>
                <a:spcPct val="0"/>
              </a:spcBef>
              <a:spcAft>
                <a:spcPts val="0"/>
              </a:spcAft>
              <a:buClrTx/>
              <a:buSzTx/>
              <a:buFontTx/>
              <a:buNone/>
              <a:tabLst/>
              <a:defRPr/>
            </a:pPr>
            <a:r>
              <a:rPr kumimoji="0" lang="en-US" sz="1500" b="1" i="0" u="none" strike="noStrike" kern="0" cap="none" spc="0" normalizeH="0" baseline="0" noProof="0" dirty="0">
                <a:ln>
                  <a:noFill/>
                </a:ln>
                <a:solidFill>
                  <a:srgbClr val="FFFFFF"/>
                </a:solidFill>
                <a:effectLst/>
                <a:uLnTx/>
                <a:uFillTx/>
                <a:latin typeface="Arial"/>
                <a:cs typeface="Arial" pitchFamily="34" charset="0"/>
              </a:rPr>
              <a:t>($100-200</a:t>
            </a:r>
            <a:r>
              <a:rPr kumimoji="0" lang="ru-RU" sz="1500" b="1" i="0" u="none" strike="noStrike" kern="0" cap="none" spc="0" normalizeH="0" baseline="0" noProof="0" dirty="0">
                <a:ln>
                  <a:noFill/>
                </a:ln>
                <a:solidFill>
                  <a:srgbClr val="FFFFFF"/>
                </a:solidFill>
                <a:effectLst/>
                <a:uLnTx/>
                <a:uFillTx/>
                <a:latin typeface="Arial"/>
                <a:cs typeface="Arial" pitchFamily="34" charset="0"/>
              </a:rPr>
              <a:t>М</a:t>
            </a:r>
            <a:r>
              <a:rPr kumimoji="0" lang="en-US" sz="1500" b="1" i="0" u="none" strike="noStrike" kern="0" cap="none" spc="0" normalizeH="0" baseline="0" noProof="0" dirty="0">
                <a:ln>
                  <a:noFill/>
                </a:ln>
                <a:solidFill>
                  <a:srgbClr val="FFFFFF"/>
                </a:solidFill>
                <a:effectLst/>
                <a:uLnTx/>
                <a:uFillTx/>
                <a:latin typeface="Arial"/>
                <a:cs typeface="Arial" pitchFamily="34" charset="0"/>
              </a:rPr>
              <a:t>)</a:t>
            </a:r>
          </a:p>
        </p:txBody>
      </p:sp>
      <p:sp>
        <p:nvSpPr>
          <p:cNvPr id="13" name="Pentagon 12"/>
          <p:cNvSpPr/>
          <p:nvPr/>
        </p:nvSpPr>
        <p:spPr>
          <a:xfrm>
            <a:off x="3275856" y="4279779"/>
            <a:ext cx="1887164" cy="1850115"/>
          </a:xfrm>
          <a:prstGeom prst="homePlate">
            <a:avLst>
              <a:gd name="adj" fmla="val 19760"/>
            </a:avLst>
          </a:prstGeom>
          <a:solidFill>
            <a:srgbClr val="0066CC"/>
          </a:solidFill>
          <a:ln w="6350">
            <a:noFill/>
            <a:miter lim="800000"/>
            <a:headEnd/>
            <a:tailEnd/>
          </a:ln>
        </p:spPr>
        <p:txBody>
          <a:bodyPr wrap="none" lIns="72000" tIns="72000" rIns="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a:solidFill>
                  <a:srgbClr val="FFFFFF"/>
                </a:solidFill>
                <a:latin typeface="Arial"/>
                <a:cs typeface="Arial" pitchFamily="34" charset="0"/>
              </a:rPr>
              <a:t>Аутсорсинг </a:t>
            </a:r>
          </a:p>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a:solidFill>
                  <a:srgbClr val="FFFFFF"/>
                </a:solidFill>
                <a:latin typeface="Arial"/>
                <a:cs typeface="Arial" pitchFamily="34" charset="0"/>
              </a:rPr>
              <a:t>бизнес-процессов</a:t>
            </a:r>
          </a:p>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a:solidFill>
                  <a:srgbClr val="FFFFFF"/>
                </a:solidFill>
                <a:latin typeface="Arial"/>
                <a:cs typeface="Arial" pitchFamily="34" charset="0"/>
              </a:rPr>
              <a:t>(АБП)</a:t>
            </a:r>
            <a:r>
              <a:rPr lang="en-US" sz="1500" b="1" kern="0" dirty="0">
                <a:solidFill>
                  <a:srgbClr val="FFFFFF"/>
                </a:solidFill>
                <a:latin typeface="Arial"/>
                <a:cs typeface="Arial" pitchFamily="34" charset="0"/>
              </a:rPr>
              <a:t> </a:t>
            </a:r>
            <a:endParaRPr kumimoji="0" lang="en-US" sz="1500" b="1" i="0" u="none" strike="noStrike" kern="0" cap="none" spc="0" normalizeH="0" baseline="0" noProof="0" dirty="0">
              <a:ln>
                <a:noFill/>
              </a:ln>
              <a:solidFill>
                <a:srgbClr val="FFFFFF"/>
              </a:solidFill>
              <a:effectLst/>
              <a:uLnTx/>
              <a:uFillTx/>
              <a:latin typeface="Arial"/>
              <a:cs typeface="Arial" pitchFamily="34" charset="0"/>
            </a:endParaRPr>
          </a:p>
        </p:txBody>
      </p:sp>
      <p:cxnSp>
        <p:nvCxnSpPr>
          <p:cNvPr id="15" name="Straight Connector 14"/>
          <p:cNvCxnSpPr/>
          <p:nvPr/>
        </p:nvCxnSpPr>
        <p:spPr>
          <a:xfrm>
            <a:off x="0" y="1027326"/>
            <a:ext cx="9144000"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0" y="6450384"/>
            <a:ext cx="7706983"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sp>
        <p:nvSpPr>
          <p:cNvPr id="20" name="Rectangle 8"/>
          <p:cNvSpPr>
            <a:spLocks noChangeArrowheads="1"/>
          </p:cNvSpPr>
          <p:nvPr/>
        </p:nvSpPr>
        <p:spPr bwMode="gray">
          <a:xfrm>
            <a:off x="234255" y="1882891"/>
            <a:ext cx="2839487" cy="4383685"/>
          </a:xfrm>
          <a:prstGeom prst="rect">
            <a:avLst/>
          </a:prstGeom>
          <a:noFill/>
          <a:ln w="6350">
            <a:solidFill>
              <a:srgbClr val="002960"/>
            </a:solidFill>
            <a:miter lim="800000"/>
            <a:headEnd/>
            <a:tailEnd/>
          </a:ln>
        </p:spPr>
        <p:txBody>
          <a:bodyPr wrap="square" lIns="91440" tIns="91440" rIns="0" bIns="0" anchorCtr="0">
            <a:noAutofit/>
          </a:bodyPr>
          <a:lstStyle/>
          <a:p>
            <a:pPr marL="171450" indent="-171450" defTabSz="966788" eaLnBrk="0" hangingPunct="0">
              <a:lnSpc>
                <a:spcPct val="90000"/>
              </a:lnSpc>
              <a:spcBef>
                <a:spcPts val="900"/>
              </a:spcBef>
              <a:buClr>
                <a:srgbClr val="FF6600"/>
              </a:buClr>
              <a:buSzPct val="100000"/>
              <a:buFont typeface="Arial" pitchFamily="34" charset="0"/>
              <a:buChar char="•"/>
            </a:pPr>
            <a:r>
              <a:rPr lang="ru-RU" sz="1400" kern="0" dirty="0">
                <a:solidFill>
                  <a:sysClr val="windowText" lastClr="000000"/>
                </a:solidFill>
                <a:latin typeface="Arial"/>
                <a:cs typeface="Arial" pitchFamily="34" charset="0"/>
              </a:rPr>
              <a:t>Прокладка </a:t>
            </a:r>
            <a:r>
              <a:rPr lang="en-US" sz="1400" kern="0" dirty="0">
                <a:solidFill>
                  <a:sysClr val="windowText" lastClr="000000"/>
                </a:solidFill>
                <a:latin typeface="Arial"/>
                <a:cs typeface="Arial" pitchFamily="34" charset="0"/>
              </a:rPr>
              <a:t>5000</a:t>
            </a:r>
            <a:r>
              <a:rPr lang="ru-RU" sz="1400" kern="0" dirty="0">
                <a:solidFill>
                  <a:sysClr val="windowText" lastClr="000000"/>
                </a:solidFill>
                <a:latin typeface="Arial"/>
                <a:cs typeface="Arial" pitchFamily="34" charset="0"/>
              </a:rPr>
              <a:t> км (и более) оптоволоконного кабеля, соединяющего все </a:t>
            </a:r>
            <a:r>
              <a:rPr lang="en-US" sz="1400" kern="0" dirty="0">
                <a:solidFill>
                  <a:sysClr val="windowText" lastClr="000000"/>
                </a:solidFill>
                <a:latin typeface="Arial"/>
                <a:cs typeface="Arial" pitchFamily="34" charset="0"/>
              </a:rPr>
              <a:t>30 </a:t>
            </a:r>
            <a:r>
              <a:rPr lang="ru-RU" sz="1400" kern="0" dirty="0">
                <a:solidFill>
                  <a:sysClr val="windowText" lastClr="000000"/>
                </a:solidFill>
                <a:latin typeface="Arial"/>
                <a:cs typeface="Arial" pitchFamily="34" charset="0"/>
              </a:rPr>
              <a:t>районов</a:t>
            </a:r>
            <a:r>
              <a:rPr lang="en-US" sz="1400" kern="0" dirty="0">
                <a:solidFill>
                  <a:sysClr val="windowText" lastClr="000000"/>
                </a:solidFill>
                <a:latin typeface="Arial"/>
                <a:cs typeface="Arial" pitchFamily="34" charset="0"/>
              </a:rPr>
              <a:t>, </a:t>
            </a:r>
            <a:r>
              <a:rPr lang="ru-RU" sz="1400" kern="0" dirty="0">
                <a:solidFill>
                  <a:sysClr val="windowText" lastClr="000000"/>
                </a:solidFill>
                <a:latin typeface="Arial"/>
                <a:cs typeface="Arial" pitchFamily="34" charset="0"/>
              </a:rPr>
              <a:t>с </a:t>
            </a:r>
            <a:r>
              <a:rPr lang="en-US" sz="1400" kern="0" dirty="0">
                <a:solidFill>
                  <a:sysClr val="windowText" lastClr="000000"/>
                </a:solidFill>
                <a:latin typeface="Arial"/>
                <a:cs typeface="Arial" pitchFamily="34" charset="0"/>
              </a:rPr>
              <a:t>9 </a:t>
            </a:r>
            <a:r>
              <a:rPr lang="ru-RU" sz="1400" kern="0" dirty="0">
                <a:solidFill>
                  <a:sysClr val="windowText" lastClr="000000"/>
                </a:solidFill>
                <a:latin typeface="Arial"/>
                <a:cs typeface="Arial" pitchFamily="34" charset="0"/>
              </a:rPr>
              <a:t>региональными линиями передач в соседние страны</a:t>
            </a:r>
            <a:endParaRPr lang="en-US" sz="1400" kern="0" dirty="0">
              <a:solidFill>
                <a:sysClr val="windowText" lastClr="000000"/>
              </a:solidFill>
              <a:latin typeface="Arial"/>
              <a:cs typeface="Arial" pitchFamily="34" charset="0"/>
            </a:endParaRPr>
          </a:p>
          <a:p>
            <a:pPr marL="171450" indent="-171450" defTabSz="966788" eaLnBrk="0" hangingPunct="0">
              <a:lnSpc>
                <a:spcPct val="90000"/>
              </a:lnSpc>
              <a:spcBef>
                <a:spcPts val="900"/>
              </a:spcBef>
              <a:buClr>
                <a:srgbClr val="FF6600"/>
              </a:buClr>
              <a:buSzPct val="100000"/>
              <a:buFont typeface="Arial" pitchFamily="34" charset="0"/>
              <a:buChar char="•"/>
            </a:pPr>
            <a:r>
              <a:rPr lang="ru-RU" sz="1400" kern="0" dirty="0">
                <a:solidFill>
                  <a:sysClr val="windowText" lastClr="000000"/>
                </a:solidFill>
                <a:latin typeface="Arial"/>
                <a:cs typeface="Arial" pitchFamily="34" charset="0"/>
              </a:rPr>
              <a:t>П</a:t>
            </a:r>
            <a:r>
              <a:rPr lang="ru-RU" sz="1400" kern="0" noProof="0" dirty="0" err="1">
                <a:solidFill>
                  <a:sysClr val="windowText" lastClr="000000"/>
                </a:solidFill>
                <a:latin typeface="Arial"/>
                <a:cs typeface="Arial" pitchFamily="34" charset="0"/>
              </a:rPr>
              <a:t>ропускная</a:t>
            </a:r>
            <a:r>
              <a:rPr lang="ru-RU" sz="1400" kern="0" noProof="0" dirty="0">
                <a:solidFill>
                  <a:sysClr val="windowText" lastClr="000000"/>
                </a:solidFill>
                <a:latin typeface="Arial"/>
                <a:cs typeface="Arial" pitchFamily="34" charset="0"/>
              </a:rPr>
              <a:t> способность широкополосной сети – </a:t>
            </a:r>
            <a:r>
              <a:rPr lang="en-US" sz="1400" kern="0" dirty="0">
                <a:solidFill>
                  <a:sysClr val="windowText" lastClr="000000"/>
                </a:solidFill>
                <a:latin typeface="Arial"/>
                <a:cs typeface="Arial" pitchFamily="34" charset="0"/>
              </a:rPr>
              <a:t>10</a:t>
            </a:r>
            <a:r>
              <a:rPr lang="ru-RU" sz="1400" kern="0" dirty="0">
                <a:solidFill>
                  <a:sysClr val="windowText" lastClr="000000"/>
                </a:solidFill>
                <a:latin typeface="Arial"/>
                <a:cs typeface="Arial" pitchFamily="34" charset="0"/>
              </a:rPr>
              <a:t> Гбит/сек</a:t>
            </a:r>
            <a:r>
              <a:rPr lang="en-US" sz="1400" kern="0" dirty="0">
                <a:solidFill>
                  <a:sysClr val="windowText" lastClr="000000"/>
                </a:solidFill>
                <a:latin typeface="Arial"/>
                <a:cs typeface="Arial" pitchFamily="34" charset="0"/>
              </a:rPr>
              <a:t> </a:t>
            </a:r>
            <a:endParaRPr lang="en-US" sz="1400" kern="0" noProof="0" dirty="0">
              <a:solidFill>
                <a:sysClr val="windowText" lastClr="000000"/>
              </a:solidFill>
              <a:latin typeface="Arial"/>
              <a:cs typeface="Arial" pitchFamily="34" charset="0"/>
            </a:endParaRPr>
          </a:p>
          <a:p>
            <a:pPr marL="171450" indent="-171450" defTabSz="966788" eaLnBrk="0" hangingPunct="0">
              <a:lnSpc>
                <a:spcPct val="90000"/>
              </a:lnSpc>
              <a:spcBef>
                <a:spcPts val="900"/>
              </a:spcBef>
              <a:buClr>
                <a:srgbClr val="FF6600"/>
              </a:buClr>
              <a:buSzPct val="100000"/>
              <a:buFont typeface="Arial" pitchFamily="34" charset="0"/>
              <a:buChar char="•"/>
            </a:pPr>
            <a:r>
              <a:rPr lang="ru-RU" sz="1400" kern="0" dirty="0">
                <a:solidFill>
                  <a:sysClr val="windowText" lastClr="000000"/>
                </a:solidFill>
                <a:latin typeface="Arial"/>
                <a:cs typeface="Arial" pitchFamily="34" charset="0"/>
              </a:rPr>
              <a:t>Покрытие по стране: у</a:t>
            </a:r>
            <a:r>
              <a:rPr lang="ru-RU" sz="1400" kern="0" noProof="0" dirty="0" err="1">
                <a:solidFill>
                  <a:sysClr val="windowText" lastClr="000000"/>
                </a:solidFill>
                <a:latin typeface="Arial"/>
                <a:cs typeface="Arial" pitchFamily="34" charset="0"/>
              </a:rPr>
              <a:t>ровень</a:t>
            </a:r>
            <a:r>
              <a:rPr lang="ru-RU" sz="1400" kern="0" noProof="0" dirty="0">
                <a:solidFill>
                  <a:sysClr val="windowText" lastClr="000000"/>
                </a:solidFill>
                <a:latin typeface="Arial"/>
                <a:cs typeface="Arial" pitchFamily="34" charset="0"/>
              </a:rPr>
              <a:t> проникновения </a:t>
            </a:r>
            <a:r>
              <a:rPr lang="ru-RU" sz="1400" kern="0" noProof="0" dirty="0" err="1">
                <a:solidFill>
                  <a:sysClr val="windowText" lastClr="000000"/>
                </a:solidFill>
                <a:latin typeface="Arial"/>
                <a:cs typeface="Arial" pitchFamily="34" charset="0"/>
              </a:rPr>
              <a:t>моб.связи</a:t>
            </a:r>
            <a:r>
              <a:rPr lang="ru-RU" sz="1400" kern="0" dirty="0">
                <a:solidFill>
                  <a:sysClr val="windowText" lastClr="000000"/>
                </a:solidFill>
                <a:latin typeface="Arial"/>
                <a:cs typeface="Arial" pitchFamily="34" charset="0"/>
              </a:rPr>
              <a:t> –</a:t>
            </a:r>
            <a:r>
              <a:rPr lang="ru-RU" sz="1400" kern="0" noProof="0" dirty="0">
                <a:solidFill>
                  <a:sysClr val="windowText" lastClr="000000"/>
                </a:solidFill>
                <a:latin typeface="Arial"/>
                <a:cs typeface="Arial" pitchFamily="34" charset="0"/>
              </a:rPr>
              <a:t> </a:t>
            </a:r>
            <a:r>
              <a:rPr lang="en-US" sz="1400" kern="0" noProof="0" dirty="0">
                <a:solidFill>
                  <a:sysClr val="windowText" lastClr="000000"/>
                </a:solidFill>
                <a:latin typeface="Arial"/>
                <a:cs typeface="Arial" pitchFamily="34" charset="0"/>
              </a:rPr>
              <a:t>80%; </a:t>
            </a:r>
            <a:r>
              <a:rPr lang="ru-RU" sz="1400" kern="0" noProof="0" dirty="0">
                <a:solidFill>
                  <a:sysClr val="windowText" lastClr="000000"/>
                </a:solidFill>
                <a:latin typeface="Arial"/>
                <a:cs typeface="Arial" pitchFamily="34" charset="0"/>
              </a:rPr>
              <a:t>интернет-связи – </a:t>
            </a:r>
            <a:r>
              <a:rPr lang="en-US" sz="1400" kern="0" noProof="0" dirty="0">
                <a:solidFill>
                  <a:sysClr val="windowText" lastClr="000000"/>
                </a:solidFill>
                <a:latin typeface="Arial"/>
                <a:cs typeface="Arial" pitchFamily="34" charset="0"/>
              </a:rPr>
              <a:t>33</a:t>
            </a:r>
            <a:r>
              <a:rPr lang="ru-RU" sz="1400" kern="0" dirty="0">
                <a:solidFill>
                  <a:sysClr val="windowText" lastClr="000000"/>
                </a:solidFill>
                <a:latin typeface="Arial"/>
                <a:cs typeface="Arial" pitchFamily="34" charset="0"/>
              </a:rPr>
              <a:t>, </a:t>
            </a:r>
            <a:r>
              <a:rPr lang="en-US" sz="1400" kern="0" dirty="0">
                <a:solidFill>
                  <a:sysClr val="windowText" lastClr="000000"/>
                </a:solidFill>
                <a:latin typeface="Arial"/>
                <a:cs typeface="Arial" pitchFamily="34" charset="0"/>
              </a:rPr>
              <a:t>4G</a:t>
            </a:r>
            <a:r>
              <a:rPr lang="ru-RU" sz="1400" kern="0" dirty="0">
                <a:solidFill>
                  <a:sysClr val="windowText" lastClr="000000"/>
                </a:solidFill>
                <a:latin typeface="Arial"/>
                <a:cs typeface="Arial" pitchFamily="34" charset="0"/>
              </a:rPr>
              <a:t> </a:t>
            </a:r>
            <a:r>
              <a:rPr lang="en-US" sz="1400" kern="0" dirty="0">
                <a:solidFill>
                  <a:sysClr val="windowText" lastClr="000000"/>
                </a:solidFill>
                <a:latin typeface="Arial"/>
                <a:cs typeface="Arial" pitchFamily="34" charset="0"/>
              </a:rPr>
              <a:t>LTE </a:t>
            </a:r>
            <a:r>
              <a:rPr lang="ru-RU" sz="1400" kern="0" dirty="0">
                <a:solidFill>
                  <a:sysClr val="windowText" lastClr="000000"/>
                </a:solidFill>
                <a:latin typeface="Arial"/>
                <a:cs typeface="Arial" pitchFamily="34" charset="0"/>
              </a:rPr>
              <a:t>– </a:t>
            </a:r>
            <a:r>
              <a:rPr lang="en-US" sz="1400" kern="0" dirty="0">
                <a:solidFill>
                  <a:sysClr val="windowText" lastClr="000000"/>
                </a:solidFill>
                <a:latin typeface="Arial"/>
                <a:cs typeface="Arial" pitchFamily="34" charset="0"/>
              </a:rPr>
              <a:t>95</a:t>
            </a:r>
            <a:r>
              <a:rPr lang="en-US" sz="1400" kern="0" noProof="0" dirty="0">
                <a:solidFill>
                  <a:sysClr val="windowText" lastClr="000000"/>
                </a:solidFill>
                <a:latin typeface="Arial"/>
                <a:cs typeface="Arial" pitchFamily="34" charset="0"/>
              </a:rPr>
              <a:t>%</a:t>
            </a:r>
          </a:p>
          <a:p>
            <a:pPr marL="171450" indent="-171450" defTabSz="966788" eaLnBrk="0" hangingPunct="0">
              <a:lnSpc>
                <a:spcPct val="90000"/>
              </a:lnSpc>
              <a:spcBef>
                <a:spcPts val="900"/>
              </a:spcBef>
              <a:buClr>
                <a:srgbClr val="FF6600"/>
              </a:buClr>
              <a:buSzPct val="100000"/>
              <a:buFont typeface="Arial" pitchFamily="34" charset="0"/>
              <a:buChar char="•"/>
            </a:pPr>
            <a:endParaRPr lang="en-US" sz="1400" kern="0" noProof="0" dirty="0">
              <a:solidFill>
                <a:sysClr val="windowText" lastClr="000000"/>
              </a:solidFill>
              <a:latin typeface="Arial"/>
              <a:cs typeface="Arial" pitchFamily="34" charset="0"/>
            </a:endParaRPr>
          </a:p>
        </p:txBody>
      </p:sp>
      <p:pic>
        <p:nvPicPr>
          <p:cNvPr id="21" name="Picture 20"/>
          <p:cNvPicPr>
            <a:picLocks/>
          </p:cNvPicPr>
          <p:nvPr/>
        </p:nvPicPr>
        <p:blipFill>
          <a:blip r:embed="rId3">
            <a:extLst>
              <a:ext uri="{28A0092B-C50C-407E-A947-70E740481C1C}">
                <a14:useLocalDpi xmlns:a14="http://schemas.microsoft.com/office/drawing/2010/main" val="0"/>
              </a:ext>
            </a:extLst>
          </a:blip>
          <a:stretch>
            <a:fillRect/>
          </a:stretch>
        </p:blipFill>
        <p:spPr>
          <a:xfrm>
            <a:off x="385209" y="4797046"/>
            <a:ext cx="2496702" cy="1402701"/>
          </a:xfrm>
          <a:prstGeom prst="rect">
            <a:avLst/>
          </a:prstGeom>
        </p:spPr>
      </p:pic>
    </p:spTree>
    <p:extLst>
      <p:ext uri="{BB962C8B-B14F-4D97-AF65-F5344CB8AC3E}">
        <p14:creationId xmlns:p14="http://schemas.microsoft.com/office/powerpoint/2010/main" val="16823979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A5013A8-F3E1-2C42-B42A-3ED798E2D4A7}" type="slidenum">
              <a:rPr lang="en-US" smtClean="0"/>
              <a:t>19</a:t>
            </a:fld>
            <a:endParaRPr lang="en-US"/>
          </a:p>
        </p:txBody>
      </p:sp>
      <p:pic>
        <p:nvPicPr>
          <p:cNvPr id="3" name="Picture 2" descr="RDB logo.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06983" y="5806941"/>
            <a:ext cx="1186192" cy="1051708"/>
          </a:xfrm>
          <a:prstGeom prst="rect">
            <a:avLst/>
          </a:prstGeom>
        </p:spPr>
      </p:pic>
      <p:sp>
        <p:nvSpPr>
          <p:cNvPr id="4" name="Rectangle 3"/>
          <p:cNvSpPr/>
          <p:nvPr/>
        </p:nvSpPr>
        <p:spPr>
          <a:xfrm>
            <a:off x="4630723" y="1981510"/>
            <a:ext cx="4404220" cy="2165797"/>
          </a:xfrm>
          <a:prstGeom prst="rect">
            <a:avLst/>
          </a:prstGeom>
          <a:solidFill>
            <a:srgbClr val="C7E0FB"/>
          </a:solidFill>
        </p:spPr>
        <p:txBody>
          <a:bodyPr wrap="square" lIns="288000" tIns="73152" rIns="73152" bIns="73152" anchor="ctr">
            <a:noAutofit/>
          </a:bodyPr>
          <a:lstStyle/>
          <a:p>
            <a:pPr marL="171450" indent="-171450" defTabSz="914400" eaLnBrk="0" hangingPunct="0">
              <a:lnSpc>
                <a:spcPct val="90000"/>
              </a:lnSpc>
              <a:spcAft>
                <a:spcPts val="600"/>
              </a:spcAft>
              <a:buClr>
                <a:srgbClr val="FF6600"/>
              </a:buClr>
              <a:buSzPct val="100000"/>
              <a:buFont typeface="Arial" pitchFamily="34" charset="0"/>
              <a:buChar char="•"/>
            </a:pPr>
            <a:endParaRPr lang="en-US" sz="1200" kern="0" dirty="0">
              <a:solidFill>
                <a:sysClr val="windowText" lastClr="000000"/>
              </a:solidFill>
              <a:cs typeface="Arial" pitchFamily="34" charset="0"/>
            </a:endParaRPr>
          </a:p>
          <a:p>
            <a:pPr marL="171450" indent="-171450" defTabSz="914400" eaLnBrk="0" hangingPunct="0">
              <a:lnSpc>
                <a:spcPct val="90000"/>
              </a:lnSpc>
              <a:spcAft>
                <a:spcPts val="600"/>
              </a:spcAft>
              <a:buClr>
                <a:srgbClr val="FF6600"/>
              </a:buClr>
              <a:buSzPct val="100000"/>
              <a:buFont typeface="Arial" pitchFamily="34" charset="0"/>
              <a:buChar char="•"/>
            </a:pPr>
            <a:r>
              <a:rPr lang="ru-RU" sz="1200" kern="0" dirty="0">
                <a:solidFill>
                  <a:sysClr val="windowText" lastClr="000000"/>
                </a:solidFill>
                <a:cs typeface="Arial" pitchFamily="34" charset="0"/>
              </a:rPr>
              <a:t>Ожидается, что спрос на жилье достигнет </a:t>
            </a:r>
            <a:r>
              <a:rPr lang="en-US" sz="1200" b="1" kern="0" dirty="0">
                <a:solidFill>
                  <a:sysClr val="windowText" lastClr="000000"/>
                </a:solidFill>
                <a:cs typeface="Arial" pitchFamily="34" charset="0"/>
              </a:rPr>
              <a:t>340</a:t>
            </a:r>
            <a:r>
              <a:rPr lang="ru-RU" sz="1200" b="1" kern="0" dirty="0">
                <a:solidFill>
                  <a:sysClr val="windowText" lastClr="000000"/>
                </a:solidFill>
                <a:cs typeface="Arial" pitchFamily="34" charset="0"/>
              </a:rPr>
              <a:t> </a:t>
            </a:r>
            <a:r>
              <a:rPr lang="en-US" sz="1200" b="1" kern="0" dirty="0">
                <a:solidFill>
                  <a:sysClr val="windowText" lastClr="000000"/>
                </a:solidFill>
                <a:cs typeface="Arial" pitchFamily="34" charset="0"/>
              </a:rPr>
              <a:t>000 </a:t>
            </a:r>
            <a:r>
              <a:rPr lang="ru-RU" sz="1200" b="1" kern="0" dirty="0">
                <a:solidFill>
                  <a:sysClr val="windowText" lastClr="000000"/>
                </a:solidFill>
                <a:cs typeface="Arial" pitchFamily="34" charset="0"/>
              </a:rPr>
              <a:t>единиц к </a:t>
            </a:r>
            <a:r>
              <a:rPr lang="en-US" sz="1200" b="1" kern="0" dirty="0">
                <a:solidFill>
                  <a:sysClr val="windowText" lastClr="000000"/>
                </a:solidFill>
                <a:cs typeface="Arial" pitchFamily="34" charset="0"/>
              </a:rPr>
              <a:t>2022</a:t>
            </a:r>
            <a:r>
              <a:rPr lang="en-US" sz="1200" kern="0" dirty="0">
                <a:solidFill>
                  <a:sysClr val="windowText" lastClr="000000"/>
                </a:solidFill>
                <a:cs typeface="Arial" pitchFamily="34" charset="0"/>
              </a:rPr>
              <a:t>, </a:t>
            </a:r>
            <a:r>
              <a:rPr lang="ru-RU" sz="1200" kern="0" dirty="0">
                <a:solidFill>
                  <a:sysClr val="windowText" lastClr="000000"/>
                </a:solidFill>
                <a:cs typeface="Arial" pitchFamily="34" charset="0"/>
              </a:rPr>
              <a:t>в основном на доступное жилье и жилье бизнес-класса (средней ценовой категории)</a:t>
            </a:r>
            <a:r>
              <a:rPr lang="en-US" sz="1200" kern="0" dirty="0">
                <a:solidFill>
                  <a:sysClr val="windowText" lastClr="000000"/>
                </a:solidFill>
                <a:cs typeface="Arial" pitchFamily="34" charset="0"/>
              </a:rPr>
              <a:t>. </a:t>
            </a:r>
          </a:p>
          <a:p>
            <a:pPr marL="171450" indent="-171450" defTabSz="914400" eaLnBrk="0" hangingPunct="0">
              <a:lnSpc>
                <a:spcPct val="90000"/>
              </a:lnSpc>
              <a:spcAft>
                <a:spcPts val="600"/>
              </a:spcAft>
              <a:buClr>
                <a:srgbClr val="FF6600"/>
              </a:buClr>
              <a:buSzPct val="100000"/>
              <a:buFont typeface="Arial" pitchFamily="34" charset="0"/>
              <a:buChar char="•"/>
            </a:pPr>
            <a:r>
              <a:rPr lang="ru-RU" sz="1200" kern="0" dirty="0">
                <a:solidFill>
                  <a:sysClr val="windowText" lastClr="000000"/>
                </a:solidFill>
                <a:cs typeface="Arial" pitchFamily="34" charset="0"/>
              </a:rPr>
              <a:t>Для балансирования высоких цен на землю, строительства и кредитования</a:t>
            </a:r>
            <a:r>
              <a:rPr lang="en-US" sz="1200" b="1" kern="0" dirty="0">
                <a:solidFill>
                  <a:sysClr val="windowText" lastClr="000000"/>
                </a:solidFill>
                <a:cs typeface="Arial" pitchFamily="34" charset="0"/>
              </a:rPr>
              <a:t>, </a:t>
            </a:r>
            <a:r>
              <a:rPr lang="ru-RU" sz="1200" b="1" kern="0" dirty="0">
                <a:solidFill>
                  <a:sysClr val="windowText" lastClr="000000"/>
                </a:solidFill>
                <a:cs typeface="Arial" pitchFamily="34" charset="0"/>
              </a:rPr>
              <a:t>правительство планирует создать Финансовый Фонд Жилья при участии правительства, </a:t>
            </a:r>
            <a:r>
              <a:rPr lang="ru-RU" sz="1200" kern="0" dirty="0">
                <a:solidFill>
                  <a:sysClr val="windowText" lastClr="000000"/>
                </a:solidFill>
                <a:cs typeface="Arial" pitchFamily="34" charset="0"/>
              </a:rPr>
              <a:t>МН финансовых институтов и частного сектора.</a:t>
            </a:r>
            <a:endParaRPr lang="en-US" sz="1200" kern="0" dirty="0">
              <a:solidFill>
                <a:sysClr val="windowText" lastClr="000000"/>
              </a:solidFill>
              <a:cs typeface="Arial" pitchFamily="34" charset="0"/>
            </a:endParaRPr>
          </a:p>
          <a:p>
            <a:pPr marL="171450" indent="-171450" defTabSz="914400" eaLnBrk="0" hangingPunct="0">
              <a:lnSpc>
                <a:spcPct val="90000"/>
              </a:lnSpc>
              <a:spcAft>
                <a:spcPts val="600"/>
              </a:spcAft>
              <a:buClr>
                <a:srgbClr val="FF6600"/>
              </a:buClr>
              <a:buSzPct val="100000"/>
              <a:buFont typeface="Arial" pitchFamily="34" charset="0"/>
              <a:buChar char="•"/>
            </a:pPr>
            <a:r>
              <a:rPr lang="ru-RU" sz="1200" kern="0" dirty="0">
                <a:solidFill>
                  <a:sysClr val="windowText" lastClr="000000"/>
                </a:solidFill>
                <a:cs typeface="Arial" pitchFamily="34" charset="0"/>
              </a:rPr>
              <a:t>Целью Фонда будет являться создание безопасных механизмов для проектировщик и строителей жилья, а также производителей стройматериалов и инвесторов.</a:t>
            </a:r>
            <a:endParaRPr kumimoji="0" lang="en-US" sz="1200" b="1" i="0" u="none" strike="noStrike" kern="0" cap="none" spc="0" normalizeH="0" baseline="0" noProof="0" dirty="0">
              <a:ln>
                <a:noFill/>
              </a:ln>
              <a:solidFill>
                <a:sysClr val="windowText" lastClr="000000"/>
              </a:solidFill>
              <a:effectLst/>
              <a:uLnTx/>
              <a:uFillTx/>
              <a:cs typeface="Arial" pitchFamily="34" charset="0"/>
            </a:endParaRPr>
          </a:p>
          <a:p>
            <a:pPr marL="171450" indent="-171450" defTabSz="914400" eaLnBrk="0" hangingPunct="0">
              <a:lnSpc>
                <a:spcPct val="90000"/>
              </a:lnSpc>
              <a:spcAft>
                <a:spcPts val="600"/>
              </a:spcAft>
              <a:buClr>
                <a:srgbClr val="FF6600"/>
              </a:buClr>
              <a:buSzPct val="100000"/>
              <a:buFont typeface="Arial" pitchFamily="34" charset="0"/>
              <a:buChar char="•"/>
            </a:pPr>
            <a:endParaRPr kumimoji="0" lang="en-US" sz="1200" b="1" i="0" u="none" strike="noStrike" kern="0" cap="none" spc="0" normalizeH="0" baseline="0" noProof="0" dirty="0">
              <a:ln>
                <a:noFill/>
              </a:ln>
              <a:solidFill>
                <a:sysClr val="windowText" lastClr="000000"/>
              </a:solidFill>
              <a:effectLst/>
              <a:uLnTx/>
              <a:uFillTx/>
              <a:cs typeface="Arial" pitchFamily="34" charset="0"/>
            </a:endParaRPr>
          </a:p>
        </p:txBody>
      </p:sp>
      <p:sp>
        <p:nvSpPr>
          <p:cNvPr id="5" name="Rectangle 4"/>
          <p:cNvSpPr/>
          <p:nvPr/>
        </p:nvSpPr>
        <p:spPr>
          <a:xfrm>
            <a:off x="4630723" y="4279779"/>
            <a:ext cx="4404220" cy="1850115"/>
          </a:xfrm>
          <a:prstGeom prst="rect">
            <a:avLst/>
          </a:prstGeom>
          <a:solidFill>
            <a:srgbClr val="C7E0FB"/>
          </a:solidFill>
        </p:spPr>
        <p:txBody>
          <a:bodyPr wrap="square" lIns="288000" tIns="73152" rIns="73152" bIns="73152" anchor="ctr">
            <a:noAutofit/>
          </a:bodyPr>
          <a:lstStyle/>
          <a:p>
            <a:pPr marL="171450" lvl="0" indent="-171450" defTabSz="914400" eaLnBrk="0" hangingPunct="0">
              <a:lnSpc>
                <a:spcPct val="90000"/>
              </a:lnSpc>
              <a:spcAft>
                <a:spcPts val="600"/>
              </a:spcAft>
              <a:buClr>
                <a:srgbClr val="FF6600"/>
              </a:buClr>
              <a:buSzPct val="100000"/>
              <a:buFont typeface="Arial" pitchFamily="34" charset="0"/>
              <a:buChar char="•"/>
            </a:pPr>
            <a:r>
              <a:rPr lang="ru-RU" sz="1200" kern="0" dirty="0">
                <a:solidFill>
                  <a:sysClr val="windowText" lastClr="000000"/>
                </a:solidFill>
                <a:cs typeface="Arial" pitchFamily="34" charset="0"/>
              </a:rPr>
              <a:t>Для стимуляции развития легкой промышленности, правительство ищет проектировщика объектов недвижимости </a:t>
            </a:r>
            <a:r>
              <a:rPr lang="ru-RU" sz="1200" b="1" kern="0" dirty="0">
                <a:solidFill>
                  <a:sysClr val="windowText" lastClr="000000"/>
                </a:solidFill>
                <a:cs typeface="Arial" pitchFamily="34" charset="0"/>
              </a:rPr>
              <a:t>для создания индустриальных парков для размещения передовых промышленных предприятий.</a:t>
            </a:r>
            <a:endParaRPr lang="en-US" sz="1200" kern="0" dirty="0">
              <a:solidFill>
                <a:sysClr val="windowText" lastClr="000000"/>
              </a:solidFill>
              <a:cs typeface="Arial" pitchFamily="34" charset="0"/>
            </a:endParaRPr>
          </a:p>
          <a:p>
            <a:pPr marL="171450" lvl="0" indent="-171450" defTabSz="914400" eaLnBrk="0" hangingPunct="0">
              <a:lnSpc>
                <a:spcPct val="90000"/>
              </a:lnSpc>
              <a:spcAft>
                <a:spcPts val="600"/>
              </a:spcAft>
              <a:buClr>
                <a:srgbClr val="FF6600"/>
              </a:buClr>
              <a:buSzPct val="100000"/>
              <a:buFont typeface="Arial" pitchFamily="34" charset="0"/>
              <a:buChar char="•"/>
            </a:pPr>
            <a:r>
              <a:rPr lang="ru-RU" sz="1200" b="1" dirty="0"/>
              <a:t>Правительством зарезервирован участок земли </a:t>
            </a:r>
            <a:r>
              <a:rPr lang="en-US" sz="1200" b="1" dirty="0"/>
              <a:t>(</a:t>
            </a:r>
            <a:r>
              <a:rPr lang="ru-RU" sz="1200" b="1" dirty="0"/>
              <a:t>площадь под строительство - </a:t>
            </a:r>
            <a:r>
              <a:rPr lang="en-US" sz="1200" b="1" dirty="0"/>
              <a:t>13,180 </a:t>
            </a:r>
            <a:r>
              <a:rPr lang="ru-RU" sz="1200" b="1" dirty="0"/>
              <a:t>м</a:t>
            </a:r>
            <a:r>
              <a:rPr lang="en-US" sz="1200" b="1" baseline="30000" dirty="0"/>
              <a:t>2</a:t>
            </a:r>
            <a:r>
              <a:rPr lang="en-US" sz="1200" b="1" dirty="0"/>
              <a:t>)</a:t>
            </a:r>
            <a:r>
              <a:rPr lang="ru-RU" sz="1200" b="1" dirty="0"/>
              <a:t>. Он готов для покупки и освоения. </a:t>
            </a:r>
            <a:r>
              <a:rPr lang="ru-RU" sz="1200" dirty="0"/>
              <a:t>Хорошая доступность дорог и энергосетей</a:t>
            </a:r>
            <a:r>
              <a:rPr lang="en-US" sz="1200" dirty="0"/>
              <a:t>. </a:t>
            </a:r>
            <a:endParaRPr lang="en-US" sz="1200" kern="0" dirty="0">
              <a:solidFill>
                <a:sysClr val="windowText" lastClr="000000"/>
              </a:solidFill>
              <a:cs typeface="Arial" pitchFamily="34" charset="0"/>
            </a:endParaRPr>
          </a:p>
        </p:txBody>
      </p:sp>
      <p:sp>
        <p:nvSpPr>
          <p:cNvPr id="7" name="Title 3"/>
          <p:cNvSpPr txBox="1">
            <a:spLocks/>
          </p:cNvSpPr>
          <p:nvPr/>
        </p:nvSpPr>
        <p:spPr bwMode="auto">
          <a:xfrm>
            <a:off x="558799" y="266947"/>
            <a:ext cx="8334375"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ct val="90000"/>
              </a:lnSpc>
              <a:spcBef>
                <a:spcPct val="0"/>
              </a:spcBef>
              <a:spcAft>
                <a:spcPct val="0"/>
              </a:spcAft>
              <a:defRPr sz="2400" b="1" kern="1200">
                <a:solidFill>
                  <a:schemeClr val="tx2"/>
                </a:solidFill>
                <a:latin typeface="Arial"/>
                <a:ea typeface="+mj-ea"/>
                <a:cs typeface="Arial"/>
                <a:sym typeface="Arial"/>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ru-RU" sz="2800" dirty="0">
                <a:solidFill>
                  <a:srgbClr val="002960"/>
                </a:solidFill>
              </a:rPr>
              <a:t>Строительство и недвижимость</a:t>
            </a:r>
            <a:endParaRPr kumimoji="0" lang="en-GB" sz="2800" b="1" i="0" u="none" strike="noStrike" kern="1200" cap="none" spc="0" normalizeH="0" baseline="0" noProof="0" dirty="0">
              <a:ln>
                <a:noFill/>
              </a:ln>
              <a:solidFill>
                <a:srgbClr val="002960"/>
              </a:solidFill>
              <a:effectLst/>
              <a:uLnTx/>
              <a:uFillTx/>
              <a:sym typeface="Arial"/>
            </a:endParaRPr>
          </a:p>
        </p:txBody>
      </p:sp>
      <p:sp>
        <p:nvSpPr>
          <p:cNvPr id="9" name="Rectangle 8"/>
          <p:cNvSpPr/>
          <p:nvPr/>
        </p:nvSpPr>
        <p:spPr>
          <a:xfrm>
            <a:off x="3275856" y="1253783"/>
            <a:ext cx="5759087" cy="407237"/>
          </a:xfrm>
          <a:prstGeom prst="rect">
            <a:avLst/>
          </a:prstGeom>
          <a:solidFill>
            <a:srgbClr val="002960"/>
          </a:solidFill>
          <a:ln w="9525" cap="flat" cmpd="sng" algn="ctr">
            <a:solidFill>
              <a:srgbClr val="002960"/>
            </a:solidFill>
            <a:prstDash val="solid"/>
          </a:ln>
          <a:effectLst/>
          <a:extLst/>
        </p:spPr>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pPr lvl="0" algn="ctr" defTabSz="914400" fontAlgn="base">
              <a:lnSpc>
                <a:spcPct val="90000"/>
              </a:lnSpc>
              <a:spcBef>
                <a:spcPct val="0"/>
              </a:spcBef>
              <a:spcAft>
                <a:spcPct val="0"/>
              </a:spcAft>
              <a:defRPr/>
            </a:pPr>
            <a:r>
              <a:rPr lang="ru-RU" sz="1600" b="1" kern="0" dirty="0">
                <a:solidFill>
                  <a:srgbClr val="FFFFFF"/>
                </a:solidFill>
                <a:latin typeface="Arial"/>
                <a:cs typeface="Arial"/>
              </a:rPr>
              <a:t>Инвестиционные возможности</a:t>
            </a:r>
            <a:endParaRPr lang="en-US" sz="1600" b="1" kern="0" dirty="0">
              <a:solidFill>
                <a:srgbClr val="FFFFFF"/>
              </a:solidFill>
              <a:latin typeface="Arial"/>
              <a:cs typeface="Arial"/>
            </a:endParaRPr>
          </a:p>
        </p:txBody>
      </p:sp>
      <p:sp>
        <p:nvSpPr>
          <p:cNvPr id="10" name="Pentagon 9"/>
          <p:cNvSpPr/>
          <p:nvPr/>
        </p:nvSpPr>
        <p:spPr>
          <a:xfrm>
            <a:off x="250825" y="1251661"/>
            <a:ext cx="2900804" cy="411480"/>
          </a:xfrm>
          <a:prstGeom prst="homePlate">
            <a:avLst>
              <a:gd name="adj" fmla="val 19760"/>
            </a:avLst>
          </a:prstGeom>
          <a:solidFill>
            <a:srgbClr val="002960"/>
          </a:solidFill>
          <a:ln w="6350">
            <a:solidFill>
              <a:srgbClr val="002960"/>
            </a:solidFill>
            <a:miter lim="800000"/>
            <a:headEnd/>
            <a:tailEnd/>
          </a:ln>
        </p:spPr>
        <p:txBody>
          <a:bodyPr lIns="72000" tIns="72000" rIns="72000" bIns="72000" anchor="ctr"/>
          <a:lstStyle/>
          <a:p>
            <a:pPr lvl="0" algn="ctr" defTabSz="914400" eaLnBrk="0" hangingPunct="0">
              <a:lnSpc>
                <a:spcPct val="90000"/>
              </a:lnSpc>
              <a:spcBef>
                <a:spcPct val="0"/>
              </a:spcBef>
              <a:defRPr/>
            </a:pPr>
            <a:r>
              <a:rPr lang="ru-RU" sz="1600" b="1" kern="0" dirty="0">
                <a:solidFill>
                  <a:srgbClr val="FFFFFF"/>
                </a:solidFill>
                <a:latin typeface="Arial"/>
                <a:cs typeface="Arial" pitchFamily="34" charset="0"/>
              </a:rPr>
              <a:t>Обзор</a:t>
            </a:r>
            <a:endParaRPr kumimoji="0" lang="en-US" sz="1600" b="1" i="0" u="none" strike="noStrike" kern="0" cap="none" spc="0" normalizeH="0" baseline="0" noProof="0" dirty="0">
              <a:ln>
                <a:noFill/>
              </a:ln>
              <a:solidFill>
                <a:srgbClr val="FFFFFF"/>
              </a:solidFill>
              <a:effectLst/>
              <a:uLnTx/>
              <a:uFillTx/>
              <a:latin typeface="Arial"/>
              <a:cs typeface="Arial" pitchFamily="34" charset="0"/>
            </a:endParaRPr>
          </a:p>
        </p:txBody>
      </p:sp>
      <p:sp>
        <p:nvSpPr>
          <p:cNvPr id="11" name="Rectangle 8"/>
          <p:cNvSpPr>
            <a:spLocks noChangeArrowheads="1"/>
          </p:cNvSpPr>
          <p:nvPr/>
        </p:nvSpPr>
        <p:spPr bwMode="gray">
          <a:xfrm>
            <a:off x="244475" y="1887475"/>
            <a:ext cx="2819048" cy="4073893"/>
          </a:xfrm>
          <a:prstGeom prst="rect">
            <a:avLst/>
          </a:prstGeom>
          <a:noFill/>
          <a:ln w="6350">
            <a:solidFill>
              <a:srgbClr val="002960"/>
            </a:solidFill>
            <a:miter lim="800000"/>
            <a:headEnd/>
            <a:tailEnd/>
          </a:ln>
        </p:spPr>
        <p:txBody>
          <a:bodyPr wrap="square" lIns="91440" tIns="91440" rIns="0" bIns="0" anchorCtr="0">
            <a:noAutofit/>
          </a:bodyPr>
          <a:lstStyle/>
          <a:p>
            <a:pPr marL="171450" marR="0" lvl="0" indent="-171450" defTabSz="966788" eaLnBrk="0" fontAlgn="auto" latinLnBrk="0" hangingPunct="0">
              <a:lnSpc>
                <a:spcPct val="90000"/>
              </a:lnSpc>
              <a:spcBef>
                <a:spcPts val="900"/>
              </a:spcBef>
              <a:spcAft>
                <a:spcPts val="0"/>
              </a:spcAft>
              <a:buClr>
                <a:srgbClr val="FF6600"/>
              </a:buClr>
              <a:buSzPct val="100000"/>
              <a:buFont typeface="Arial" pitchFamily="34" charset="0"/>
              <a:buChar char="•"/>
              <a:tabLst/>
              <a:defRPr/>
            </a:pPr>
            <a:endParaRPr kumimoji="0" lang="en-US" sz="1400" b="0" i="0" u="none" strike="noStrike" kern="0" cap="none" spc="0" normalizeH="0" baseline="0" noProof="0" dirty="0">
              <a:ln>
                <a:noFill/>
              </a:ln>
              <a:solidFill>
                <a:sysClr val="windowText" lastClr="000000"/>
              </a:solidFill>
              <a:effectLst/>
              <a:uLnTx/>
              <a:uFillTx/>
              <a:latin typeface="Arial"/>
              <a:cs typeface="Arial" pitchFamily="34" charset="0"/>
            </a:endParaRPr>
          </a:p>
        </p:txBody>
      </p:sp>
      <p:sp>
        <p:nvSpPr>
          <p:cNvPr id="12" name="Pentagon 11"/>
          <p:cNvSpPr/>
          <p:nvPr/>
        </p:nvSpPr>
        <p:spPr>
          <a:xfrm>
            <a:off x="3275855" y="1981510"/>
            <a:ext cx="1665261" cy="2165797"/>
          </a:xfrm>
          <a:prstGeom prst="homePlate">
            <a:avLst>
              <a:gd name="adj" fmla="val 19760"/>
            </a:avLst>
          </a:prstGeom>
          <a:solidFill>
            <a:srgbClr val="0066CC"/>
          </a:solidFill>
          <a:ln w="6350">
            <a:noFill/>
            <a:miter lim="800000"/>
            <a:headEnd/>
            <a:tailEnd/>
          </a:ln>
        </p:spPr>
        <p:txBody>
          <a:bodyPr lIns="72000" tIns="72000" rIns="7200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a:solidFill>
                  <a:srgbClr val="FFFFFF"/>
                </a:solidFill>
                <a:latin typeface="Arial"/>
                <a:cs typeface="Arial" pitchFamily="34" charset="0"/>
              </a:rPr>
              <a:t>Создание фонда доступного жилья</a:t>
            </a:r>
            <a:endParaRPr lang="en-US" sz="1500" b="1" kern="0" noProof="0" dirty="0">
              <a:solidFill>
                <a:srgbClr val="FFFFFF"/>
              </a:solidFill>
              <a:latin typeface="Arial"/>
              <a:cs typeface="Arial" pitchFamily="34" charset="0"/>
            </a:endParaRPr>
          </a:p>
          <a:p>
            <a:pPr marL="0" marR="0" lvl="0" indent="0" defTabSz="914400" eaLnBrk="0" fontAlgn="auto" latinLnBrk="0" hangingPunct="0">
              <a:lnSpc>
                <a:spcPct val="90000"/>
              </a:lnSpc>
              <a:spcBef>
                <a:spcPct val="0"/>
              </a:spcBef>
              <a:spcAft>
                <a:spcPts val="0"/>
              </a:spcAft>
              <a:buClrTx/>
              <a:buSzTx/>
              <a:buFontTx/>
              <a:buNone/>
              <a:tabLst/>
              <a:defRPr/>
            </a:pPr>
            <a:r>
              <a:rPr kumimoji="0" lang="en-US" sz="1500" b="1" i="0" u="none" strike="noStrike" kern="0" cap="none" spc="0" normalizeH="0" baseline="0" dirty="0">
                <a:ln>
                  <a:noFill/>
                </a:ln>
                <a:solidFill>
                  <a:srgbClr val="FFFFFF"/>
                </a:solidFill>
                <a:effectLst/>
                <a:uLnTx/>
                <a:uFillTx/>
                <a:latin typeface="Arial"/>
                <a:cs typeface="Arial" pitchFamily="34" charset="0"/>
              </a:rPr>
              <a:t>($250</a:t>
            </a:r>
            <a:r>
              <a:rPr kumimoji="0" lang="ru-RU" sz="1500" b="1" i="0" u="none" strike="noStrike" kern="0" cap="none" spc="0" normalizeH="0" baseline="0" dirty="0">
                <a:ln>
                  <a:noFill/>
                </a:ln>
                <a:solidFill>
                  <a:srgbClr val="FFFFFF"/>
                </a:solidFill>
                <a:effectLst/>
                <a:uLnTx/>
                <a:uFillTx/>
                <a:latin typeface="Arial"/>
                <a:cs typeface="Arial" pitchFamily="34" charset="0"/>
              </a:rPr>
              <a:t>М</a:t>
            </a:r>
            <a:r>
              <a:rPr kumimoji="0" lang="en-US" sz="1500" b="1" i="0" u="none" strike="noStrike" kern="0" cap="none" spc="0" normalizeH="0" dirty="0">
                <a:ln>
                  <a:noFill/>
                </a:ln>
                <a:solidFill>
                  <a:srgbClr val="FFFFFF"/>
                </a:solidFill>
                <a:effectLst/>
                <a:uLnTx/>
                <a:uFillTx/>
                <a:latin typeface="Arial"/>
                <a:cs typeface="Arial" pitchFamily="34" charset="0"/>
              </a:rPr>
              <a:t>)</a:t>
            </a:r>
            <a:endParaRPr kumimoji="0" lang="en-US" sz="1500" b="1" i="0" u="none" strike="noStrike" kern="0" cap="none" spc="0" normalizeH="0" baseline="0" noProof="0" dirty="0">
              <a:ln>
                <a:noFill/>
              </a:ln>
              <a:solidFill>
                <a:srgbClr val="FFFFFF"/>
              </a:solidFill>
              <a:effectLst/>
              <a:uLnTx/>
              <a:uFillTx/>
              <a:latin typeface="Arial"/>
              <a:cs typeface="Arial" pitchFamily="34" charset="0"/>
            </a:endParaRPr>
          </a:p>
        </p:txBody>
      </p:sp>
      <p:sp>
        <p:nvSpPr>
          <p:cNvPr id="13" name="Pentagon 12"/>
          <p:cNvSpPr/>
          <p:nvPr/>
        </p:nvSpPr>
        <p:spPr>
          <a:xfrm>
            <a:off x="3275856" y="4279779"/>
            <a:ext cx="1740761" cy="1850115"/>
          </a:xfrm>
          <a:prstGeom prst="homePlate">
            <a:avLst>
              <a:gd name="adj" fmla="val 19760"/>
            </a:avLst>
          </a:prstGeom>
          <a:solidFill>
            <a:srgbClr val="0066CC"/>
          </a:solidFill>
          <a:ln w="6350">
            <a:noFill/>
            <a:miter lim="800000"/>
            <a:headEnd/>
            <a:tailEnd/>
          </a:ln>
        </p:spPr>
        <p:txBody>
          <a:bodyPr wrap="none" lIns="72000" tIns="72000" rIns="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a:solidFill>
                  <a:srgbClr val="FFFFFF"/>
                </a:solidFill>
                <a:latin typeface="Arial"/>
                <a:cs typeface="Arial" pitchFamily="34" charset="0"/>
              </a:rPr>
              <a:t>Индустриальные </a:t>
            </a:r>
          </a:p>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a:solidFill>
                  <a:srgbClr val="FFFFFF"/>
                </a:solidFill>
                <a:latin typeface="Arial"/>
                <a:cs typeface="Arial" pitchFamily="34" charset="0"/>
              </a:rPr>
              <a:t>парки</a:t>
            </a:r>
            <a:endParaRPr lang="en-US" sz="1500" b="1" kern="0" dirty="0">
              <a:solidFill>
                <a:srgbClr val="FFFFFF"/>
              </a:solidFill>
              <a:latin typeface="Arial"/>
              <a:cs typeface="Arial" pitchFamily="34" charset="0"/>
            </a:endParaRPr>
          </a:p>
          <a:p>
            <a:pPr marL="0" marR="0" lvl="0" indent="0" defTabSz="914400" eaLnBrk="0" fontAlgn="auto" latinLnBrk="0" hangingPunct="0">
              <a:lnSpc>
                <a:spcPct val="90000"/>
              </a:lnSpc>
              <a:spcBef>
                <a:spcPct val="0"/>
              </a:spcBef>
              <a:spcAft>
                <a:spcPts val="0"/>
              </a:spcAft>
              <a:buClrTx/>
              <a:buSzTx/>
              <a:buFontTx/>
              <a:buNone/>
              <a:tabLst/>
              <a:defRPr/>
            </a:pPr>
            <a:r>
              <a:rPr kumimoji="0" lang="en-US" sz="1500" b="1" i="0" u="none" strike="noStrike" kern="0" cap="none" spc="0" normalizeH="0" baseline="0" noProof="0" dirty="0">
                <a:ln>
                  <a:noFill/>
                </a:ln>
                <a:solidFill>
                  <a:srgbClr val="FFFFFF"/>
                </a:solidFill>
                <a:effectLst/>
                <a:uLnTx/>
                <a:uFillTx/>
                <a:latin typeface="Arial"/>
                <a:cs typeface="Arial" pitchFamily="34" charset="0"/>
              </a:rPr>
              <a:t>($</a:t>
            </a:r>
            <a:r>
              <a:rPr kumimoji="0" lang="en-US" sz="1500" b="1" i="0" u="none" strike="noStrike" kern="0" cap="none" spc="0" normalizeH="0" noProof="0" dirty="0">
                <a:ln>
                  <a:noFill/>
                </a:ln>
                <a:solidFill>
                  <a:srgbClr val="FFFFFF"/>
                </a:solidFill>
                <a:effectLst/>
                <a:uLnTx/>
                <a:uFillTx/>
                <a:latin typeface="Arial"/>
                <a:cs typeface="Arial" pitchFamily="34" charset="0"/>
              </a:rPr>
              <a:t>215</a:t>
            </a:r>
            <a:r>
              <a:rPr kumimoji="0" lang="ru-RU" sz="1500" b="1" i="0" u="none" strike="noStrike" kern="0" cap="none" spc="0" normalizeH="0" noProof="0" dirty="0">
                <a:ln>
                  <a:noFill/>
                </a:ln>
                <a:solidFill>
                  <a:srgbClr val="FFFFFF"/>
                </a:solidFill>
                <a:effectLst/>
                <a:uLnTx/>
                <a:uFillTx/>
                <a:latin typeface="Arial"/>
                <a:cs typeface="Arial" pitchFamily="34" charset="0"/>
              </a:rPr>
              <a:t>М</a:t>
            </a:r>
            <a:r>
              <a:rPr kumimoji="0" lang="en-US" sz="1500" b="1" i="0" u="none" strike="noStrike" kern="0" cap="none" spc="0" normalizeH="0" noProof="0" dirty="0">
                <a:ln>
                  <a:noFill/>
                </a:ln>
                <a:solidFill>
                  <a:srgbClr val="FFFFFF"/>
                </a:solidFill>
                <a:effectLst/>
                <a:uLnTx/>
                <a:uFillTx/>
                <a:latin typeface="Arial"/>
                <a:cs typeface="Arial" pitchFamily="34" charset="0"/>
              </a:rPr>
              <a:t>)</a:t>
            </a:r>
            <a:endParaRPr kumimoji="0" lang="en-US" sz="1500" b="1" i="0" u="none" strike="noStrike" kern="0" cap="none" spc="0" normalizeH="0" baseline="0" noProof="0" dirty="0">
              <a:ln>
                <a:noFill/>
              </a:ln>
              <a:solidFill>
                <a:srgbClr val="FFFFFF"/>
              </a:solidFill>
              <a:effectLst/>
              <a:uLnTx/>
              <a:uFillTx/>
              <a:latin typeface="Arial"/>
              <a:cs typeface="Arial" pitchFamily="34" charset="0"/>
            </a:endParaRPr>
          </a:p>
        </p:txBody>
      </p:sp>
      <p:cxnSp>
        <p:nvCxnSpPr>
          <p:cNvPr id="15" name="Straight Connector 14"/>
          <p:cNvCxnSpPr/>
          <p:nvPr/>
        </p:nvCxnSpPr>
        <p:spPr>
          <a:xfrm>
            <a:off x="0" y="1027326"/>
            <a:ext cx="9144000"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0" y="6450384"/>
            <a:ext cx="7706983"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sp>
        <p:nvSpPr>
          <p:cNvPr id="20" name="Rectangle 8"/>
          <p:cNvSpPr>
            <a:spLocks noChangeArrowheads="1"/>
          </p:cNvSpPr>
          <p:nvPr/>
        </p:nvSpPr>
        <p:spPr bwMode="gray">
          <a:xfrm>
            <a:off x="244475" y="1887475"/>
            <a:ext cx="2819048" cy="4468875"/>
          </a:xfrm>
          <a:prstGeom prst="rect">
            <a:avLst/>
          </a:prstGeom>
          <a:noFill/>
          <a:ln w="6350">
            <a:solidFill>
              <a:srgbClr val="002960"/>
            </a:solidFill>
            <a:miter lim="800000"/>
            <a:headEnd/>
            <a:tailEnd/>
          </a:ln>
        </p:spPr>
        <p:txBody>
          <a:bodyPr wrap="square" lIns="91440" tIns="91440" rIns="0" bIns="0" anchorCtr="0">
            <a:noAutofit/>
          </a:bodyPr>
          <a:lstStyle/>
          <a:p>
            <a:pPr marL="171450" lvl="0" indent="-171450" defTabSz="966788" eaLnBrk="0" hangingPunct="0">
              <a:lnSpc>
                <a:spcPct val="90000"/>
              </a:lnSpc>
              <a:spcBef>
                <a:spcPts val="900"/>
              </a:spcBef>
              <a:buClr>
                <a:srgbClr val="FF6600"/>
              </a:buClr>
              <a:buSzPct val="100000"/>
              <a:buFont typeface="Arial" pitchFamily="34" charset="0"/>
              <a:buChar char="•"/>
              <a:defRPr/>
            </a:pPr>
            <a:r>
              <a:rPr lang="ru-RU" sz="1400" kern="0" dirty="0" err="1">
                <a:solidFill>
                  <a:sysClr val="windowText" lastClr="000000"/>
                </a:solidFill>
                <a:latin typeface="Arial"/>
                <a:cs typeface="Arial" pitchFamily="34" charset="0"/>
              </a:rPr>
              <a:t>Рзвитие</a:t>
            </a:r>
            <a:r>
              <a:rPr lang="ru-RU" sz="1400" kern="0" dirty="0">
                <a:solidFill>
                  <a:sysClr val="windowText" lastClr="000000"/>
                </a:solidFill>
                <a:latin typeface="Arial"/>
                <a:cs typeface="Arial" pitchFamily="34" charset="0"/>
              </a:rPr>
              <a:t> фонда н</a:t>
            </a:r>
            <a:r>
              <a:rPr lang="ru-RU" sz="1400" kern="0" noProof="0" dirty="0" err="1">
                <a:solidFill>
                  <a:sysClr val="windowText" lastClr="000000"/>
                </a:solidFill>
                <a:latin typeface="Arial"/>
                <a:cs typeface="Arial" pitchFamily="34" charset="0"/>
              </a:rPr>
              <a:t>едвижимости</a:t>
            </a:r>
            <a:r>
              <a:rPr lang="ru-RU" sz="1400" kern="0" noProof="0" dirty="0">
                <a:solidFill>
                  <a:sysClr val="windowText" lastClr="000000"/>
                </a:solidFill>
                <a:latin typeface="Arial"/>
                <a:cs typeface="Arial" pitchFamily="34" charset="0"/>
              </a:rPr>
              <a:t> привносит более в </a:t>
            </a:r>
            <a:r>
              <a:rPr lang="en-US" sz="1400" kern="0" dirty="0">
                <a:solidFill>
                  <a:sysClr val="windowText" lastClr="000000"/>
                </a:solidFill>
                <a:latin typeface="Arial"/>
                <a:cs typeface="Arial" pitchFamily="34" charset="0"/>
              </a:rPr>
              <a:t>8%</a:t>
            </a:r>
            <a:r>
              <a:rPr lang="ru-RU" sz="1400" kern="0" dirty="0">
                <a:solidFill>
                  <a:sysClr val="windowText" lastClr="000000"/>
                </a:solidFill>
                <a:latin typeface="Arial"/>
                <a:cs typeface="Arial" pitchFamily="34" charset="0"/>
              </a:rPr>
              <a:t> </a:t>
            </a:r>
            <a:r>
              <a:rPr lang="ru-RU" sz="1400" kern="0" noProof="0" dirty="0">
                <a:solidFill>
                  <a:sysClr val="windowText" lastClr="000000"/>
                </a:solidFill>
                <a:latin typeface="Arial"/>
                <a:cs typeface="Arial" pitchFamily="34" charset="0"/>
              </a:rPr>
              <a:t>нац. ВВП при темпе роста </a:t>
            </a:r>
            <a:r>
              <a:rPr lang="en-US" sz="1400" kern="0" noProof="0" dirty="0">
                <a:solidFill>
                  <a:sysClr val="windowText" lastClr="000000"/>
                </a:solidFill>
                <a:latin typeface="Arial"/>
                <a:cs typeface="Arial" pitchFamily="34" charset="0"/>
              </a:rPr>
              <a:t>6% (2015/16).</a:t>
            </a:r>
          </a:p>
          <a:p>
            <a:pPr marL="171450" lvl="0" indent="-171450" defTabSz="966788" eaLnBrk="0" hangingPunct="0">
              <a:lnSpc>
                <a:spcPct val="90000"/>
              </a:lnSpc>
              <a:spcBef>
                <a:spcPts val="900"/>
              </a:spcBef>
              <a:buClr>
                <a:srgbClr val="FF6600"/>
              </a:buClr>
              <a:buSzPct val="100000"/>
              <a:buFont typeface="Arial" pitchFamily="34" charset="0"/>
              <a:buChar char="•"/>
            </a:pPr>
            <a:r>
              <a:rPr kumimoji="0" lang="ru-RU" sz="1400" b="0" i="0" u="none" strike="noStrike" kern="0" cap="none" spc="0" normalizeH="0" baseline="0" noProof="0" dirty="0">
                <a:ln>
                  <a:noFill/>
                </a:ln>
                <a:solidFill>
                  <a:sysClr val="windowText" lastClr="000000"/>
                </a:solidFill>
                <a:effectLst/>
                <a:uLnTx/>
                <a:uFillTx/>
                <a:latin typeface="Arial"/>
                <a:cs typeface="Arial" pitchFamily="34" charset="0"/>
              </a:rPr>
              <a:t>Инвестиции в этот сектор возросли с </a:t>
            </a:r>
            <a:r>
              <a:rPr kumimoji="0" lang="en-US" sz="1400" b="0" i="0" u="none" strike="noStrike" kern="0" cap="none" spc="0" normalizeH="0" baseline="0" noProof="0" dirty="0">
                <a:ln>
                  <a:noFill/>
                </a:ln>
                <a:solidFill>
                  <a:sysClr val="windowText" lastClr="000000"/>
                </a:solidFill>
                <a:effectLst/>
                <a:uLnTx/>
                <a:uFillTx/>
                <a:latin typeface="Arial"/>
                <a:cs typeface="Arial" pitchFamily="34" charset="0"/>
              </a:rPr>
              <a:t>$100</a:t>
            </a:r>
            <a:r>
              <a:rPr kumimoji="0" lang="ru-RU" sz="1400" b="0" i="0" u="none" strike="noStrike" kern="0" cap="none" spc="0" normalizeH="0" baseline="0" noProof="0" dirty="0">
                <a:ln>
                  <a:noFill/>
                </a:ln>
                <a:solidFill>
                  <a:sysClr val="windowText" lastClr="000000"/>
                </a:solidFill>
                <a:effectLst/>
                <a:uLnTx/>
                <a:uFillTx/>
                <a:latin typeface="Arial"/>
                <a:cs typeface="Arial" pitchFamily="34" charset="0"/>
              </a:rPr>
              <a:t>М до </a:t>
            </a:r>
            <a:r>
              <a:rPr kumimoji="0" lang="en-US" sz="1400" b="0" i="0" u="none" strike="noStrike" kern="0" cap="none" spc="0" normalizeH="0" baseline="0" noProof="0" dirty="0">
                <a:ln>
                  <a:noFill/>
                </a:ln>
                <a:solidFill>
                  <a:sysClr val="windowText" lastClr="000000"/>
                </a:solidFill>
                <a:effectLst/>
                <a:uLnTx/>
                <a:uFillTx/>
                <a:latin typeface="Arial"/>
                <a:cs typeface="Arial" pitchFamily="34" charset="0"/>
              </a:rPr>
              <a:t>$596</a:t>
            </a:r>
            <a:r>
              <a:rPr kumimoji="0" lang="ru-RU" sz="1400" b="0" i="0" u="none" strike="noStrike" kern="0" cap="none" spc="0" normalizeH="0" baseline="0" noProof="0" dirty="0">
                <a:ln>
                  <a:noFill/>
                </a:ln>
                <a:solidFill>
                  <a:sysClr val="windowText" lastClr="000000"/>
                </a:solidFill>
                <a:effectLst/>
                <a:uLnTx/>
                <a:uFillTx/>
                <a:latin typeface="Arial"/>
                <a:cs typeface="Arial" pitchFamily="34" charset="0"/>
              </a:rPr>
              <a:t>М за последние 1</a:t>
            </a:r>
            <a:r>
              <a:rPr kumimoji="0" lang="en-US" sz="1400" b="0" i="0" u="none" strike="noStrike" kern="0" cap="none" spc="0" normalizeH="0" baseline="0" noProof="0" dirty="0">
                <a:ln>
                  <a:noFill/>
                </a:ln>
                <a:solidFill>
                  <a:sysClr val="windowText" lastClr="000000"/>
                </a:solidFill>
                <a:effectLst/>
                <a:uLnTx/>
                <a:uFillTx/>
                <a:latin typeface="Arial"/>
                <a:cs typeface="Arial" pitchFamily="34" charset="0"/>
              </a:rPr>
              <a:t>4 </a:t>
            </a:r>
            <a:r>
              <a:rPr kumimoji="0" lang="ru-RU" sz="1400" b="0" i="0" u="none" strike="noStrike" kern="0" cap="none" spc="0" normalizeH="0" baseline="0" noProof="0" dirty="0">
                <a:ln>
                  <a:noFill/>
                </a:ln>
                <a:solidFill>
                  <a:sysClr val="windowText" lastClr="000000"/>
                </a:solidFill>
                <a:effectLst/>
                <a:uLnTx/>
                <a:uFillTx/>
                <a:latin typeface="Arial"/>
                <a:cs typeface="Arial" pitchFamily="34" charset="0"/>
              </a:rPr>
              <a:t>лет</a:t>
            </a:r>
            <a:r>
              <a:rPr lang="ru-RU" sz="1400" kern="0" dirty="0">
                <a:solidFill>
                  <a:sysClr val="windowText" lastClr="000000"/>
                </a:solidFill>
                <a:latin typeface="Arial"/>
                <a:cs typeface="Arial" pitchFamily="34" charset="0"/>
              </a:rPr>
              <a:t> благодаря повышенному спросу потребителя и развитию коммунальных инфраструктур</a:t>
            </a:r>
            <a:r>
              <a:rPr lang="en-US" sz="1400" kern="0" dirty="0">
                <a:solidFill>
                  <a:sysClr val="windowText" lastClr="000000"/>
                </a:solidFill>
                <a:latin typeface="Arial"/>
                <a:cs typeface="Arial" pitchFamily="34" charset="0"/>
              </a:rPr>
              <a:t>. </a:t>
            </a:r>
            <a:endParaRPr kumimoji="0" lang="en-US" sz="1400" b="0" i="0" u="none" strike="noStrike" kern="0" cap="none" spc="0" normalizeH="0" baseline="0" noProof="0" dirty="0">
              <a:ln>
                <a:noFill/>
              </a:ln>
              <a:solidFill>
                <a:sysClr val="windowText" lastClr="000000"/>
              </a:solidFill>
              <a:effectLst/>
              <a:uLnTx/>
              <a:uFillTx/>
              <a:latin typeface="Arial"/>
              <a:cs typeface="Arial" pitchFamily="34" charset="0"/>
            </a:endParaRPr>
          </a:p>
        </p:txBody>
      </p:sp>
      <p:sp>
        <p:nvSpPr>
          <p:cNvPr id="21" name="object 18"/>
          <p:cNvSpPr/>
          <p:nvPr/>
        </p:nvSpPr>
        <p:spPr>
          <a:xfrm>
            <a:off x="310362" y="4565202"/>
            <a:ext cx="2699973" cy="1655999"/>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5983283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bwMode="auto">
          <a:xfrm>
            <a:off x="1295401" y="339807"/>
            <a:ext cx="6319234" cy="541718"/>
          </a:xfrm>
          <a:solidFill>
            <a:schemeClr val="tx2"/>
          </a:solidFill>
        </p:spPr>
        <p:txBody>
          <a:bodyPr vert="horz" wrap="square" lIns="68580" tIns="34290" rIns="68580" bIns="34290" numCol="1" rtlCol="0" anchor="t" anchorCtr="0" compatLnSpc="1">
            <a:prstTxWarp prst="textNoShape">
              <a:avLst/>
            </a:prstTxWarp>
            <a:normAutofit/>
          </a:bodyPr>
          <a:lstStyle/>
          <a:p>
            <a:pPr algn="ctr">
              <a:defRPr/>
            </a:pPr>
            <a:r>
              <a:rPr lang="ru-RU" sz="2800" dirty="0">
                <a:solidFill>
                  <a:schemeClr val="bg1"/>
                </a:solidFill>
                <a:latin typeface="Arial"/>
                <a:cs typeface="Arial"/>
              </a:rPr>
              <a:t>Руанда</a:t>
            </a:r>
            <a:r>
              <a:rPr lang="en-US" sz="2800" dirty="0">
                <a:solidFill>
                  <a:schemeClr val="bg1"/>
                </a:solidFill>
                <a:latin typeface="Arial"/>
                <a:cs typeface="Arial"/>
              </a:rPr>
              <a:t>: </a:t>
            </a:r>
            <a:r>
              <a:rPr lang="ru-RU" sz="2800" dirty="0">
                <a:solidFill>
                  <a:schemeClr val="bg1"/>
                </a:solidFill>
                <a:latin typeface="Arial"/>
                <a:cs typeface="Arial"/>
              </a:rPr>
              <a:t>статистика</a:t>
            </a:r>
            <a:endParaRPr lang="en-US" sz="2800" dirty="0">
              <a:solidFill>
                <a:schemeClr val="bg1"/>
              </a:solidFill>
              <a:latin typeface="Arial"/>
              <a:cs typeface="Arial"/>
            </a:endParaRPr>
          </a:p>
        </p:txBody>
      </p:sp>
      <p:pic>
        <p:nvPicPr>
          <p:cNvPr id="7" name="Picture 2" descr="C:\Users\philipl\Desktop\images (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68168" y="2023717"/>
            <a:ext cx="3921617" cy="353083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980593" y="1776410"/>
            <a:ext cx="2119913" cy="300082"/>
          </a:xfrm>
          <a:prstGeom prst="rect">
            <a:avLst/>
          </a:prstGeom>
          <a:noFill/>
          <a:ln>
            <a:solidFill>
              <a:schemeClr val="accent1"/>
            </a:solidFill>
          </a:ln>
        </p:spPr>
        <p:txBody>
          <a:bodyPr wrap="square" rtlCol="0">
            <a:spAutoFit/>
          </a:bodyPr>
          <a:lstStyle/>
          <a:p>
            <a:r>
              <a:rPr lang="ru-RU" sz="1350" dirty="0"/>
              <a:t>Территория</a:t>
            </a:r>
            <a:r>
              <a:rPr lang="en-US" sz="1350" dirty="0"/>
              <a:t>: </a:t>
            </a:r>
            <a:r>
              <a:rPr lang="en-US" sz="1350" b="1" dirty="0"/>
              <a:t>26</a:t>
            </a:r>
            <a:r>
              <a:rPr lang="ru-RU" sz="1350" b="1" dirty="0"/>
              <a:t> </a:t>
            </a:r>
            <a:r>
              <a:rPr lang="en-US" sz="1350" b="1" dirty="0"/>
              <a:t>338</a:t>
            </a:r>
            <a:r>
              <a:rPr lang="ru-RU" sz="1350" b="1" dirty="0"/>
              <a:t> </a:t>
            </a:r>
            <a:r>
              <a:rPr lang="ru-RU" sz="1350" b="1" dirty="0" err="1"/>
              <a:t>кв.км</a:t>
            </a:r>
            <a:r>
              <a:rPr lang="ru-RU" sz="1350" b="1" dirty="0"/>
              <a:t>.</a:t>
            </a:r>
            <a:r>
              <a:rPr lang="en-US" sz="1350" dirty="0"/>
              <a:t> </a:t>
            </a:r>
          </a:p>
        </p:txBody>
      </p:sp>
      <p:sp>
        <p:nvSpPr>
          <p:cNvPr id="9" name="TextBox 8"/>
          <p:cNvSpPr txBox="1"/>
          <p:nvPr/>
        </p:nvSpPr>
        <p:spPr>
          <a:xfrm>
            <a:off x="6661887" y="2191908"/>
            <a:ext cx="1479789" cy="300082"/>
          </a:xfrm>
          <a:prstGeom prst="rect">
            <a:avLst/>
          </a:prstGeom>
          <a:noFill/>
          <a:ln>
            <a:solidFill>
              <a:schemeClr val="accent1"/>
            </a:solidFill>
          </a:ln>
        </p:spPr>
        <p:txBody>
          <a:bodyPr wrap="square" rtlCol="0">
            <a:spAutoFit/>
          </a:bodyPr>
          <a:lstStyle/>
          <a:p>
            <a:r>
              <a:rPr lang="ru-RU" sz="1350" dirty="0"/>
              <a:t>Столица</a:t>
            </a:r>
            <a:r>
              <a:rPr lang="en-US" sz="1350" b="1" dirty="0"/>
              <a:t>: </a:t>
            </a:r>
            <a:r>
              <a:rPr lang="ru-RU" sz="1350" b="1" dirty="0"/>
              <a:t>Кигали</a:t>
            </a:r>
            <a:endParaRPr lang="en-US" sz="1350" b="1" dirty="0"/>
          </a:p>
        </p:txBody>
      </p:sp>
      <p:sp>
        <p:nvSpPr>
          <p:cNvPr id="10" name="TextBox 9"/>
          <p:cNvSpPr txBox="1"/>
          <p:nvPr/>
        </p:nvSpPr>
        <p:spPr>
          <a:xfrm>
            <a:off x="6814038" y="3062568"/>
            <a:ext cx="2061514" cy="1269578"/>
          </a:xfrm>
          <a:prstGeom prst="rect">
            <a:avLst/>
          </a:prstGeom>
          <a:noFill/>
          <a:ln>
            <a:solidFill>
              <a:schemeClr val="accent1"/>
            </a:solidFill>
          </a:ln>
        </p:spPr>
        <p:txBody>
          <a:bodyPr wrap="square" rtlCol="0">
            <a:spAutoFit/>
          </a:bodyPr>
          <a:lstStyle/>
          <a:p>
            <a:pPr lvl="0">
              <a:defRPr/>
            </a:pPr>
            <a:r>
              <a:rPr lang="ru-RU" sz="1350" dirty="0"/>
              <a:t>Население</a:t>
            </a:r>
            <a:r>
              <a:rPr lang="en-US" sz="1350" dirty="0"/>
              <a:t>: </a:t>
            </a:r>
            <a:r>
              <a:rPr lang="en-US" sz="1350" b="1" dirty="0"/>
              <a:t>12M, 162M</a:t>
            </a:r>
            <a:r>
              <a:rPr lang="ru-RU" sz="1350" b="1" dirty="0"/>
              <a:t> – страны </a:t>
            </a:r>
            <a:r>
              <a:rPr lang="en-US" sz="1350" b="1" dirty="0"/>
              <a:t>EAC, </a:t>
            </a:r>
            <a:r>
              <a:rPr lang="en-US" sz="1200" b="1" dirty="0">
                <a:solidFill>
                  <a:prstClr val="black"/>
                </a:solidFill>
              </a:rPr>
              <a:t>430M</a:t>
            </a:r>
            <a:r>
              <a:rPr lang="en-US" sz="1350" b="1" dirty="0"/>
              <a:t> </a:t>
            </a:r>
            <a:r>
              <a:rPr lang="ru-RU" sz="1350" b="1" dirty="0"/>
              <a:t>– страны </a:t>
            </a:r>
            <a:r>
              <a:rPr lang="en-US" sz="1400" b="1" dirty="0"/>
              <a:t>COMESA</a:t>
            </a:r>
            <a:r>
              <a:rPr lang="ru-RU" sz="1400" b="1" dirty="0"/>
              <a:t> </a:t>
            </a:r>
            <a:r>
              <a:rPr lang="ru-RU" sz="1000" dirty="0"/>
              <a:t>(обш.рынок в.- и ю.африк. стран</a:t>
            </a:r>
            <a:r>
              <a:rPr lang="en-US" sz="1350" b="1" dirty="0"/>
              <a:t>, </a:t>
            </a:r>
            <a:r>
              <a:rPr lang="en-US" sz="1200" b="1" dirty="0">
                <a:solidFill>
                  <a:prstClr val="black"/>
                </a:solidFill>
              </a:rPr>
              <a:t>90M </a:t>
            </a:r>
            <a:r>
              <a:rPr lang="ru-RU" sz="1200" b="1" dirty="0">
                <a:solidFill>
                  <a:prstClr val="black"/>
                </a:solidFill>
              </a:rPr>
              <a:t>– страны </a:t>
            </a:r>
            <a:r>
              <a:rPr lang="en-US" sz="1200" b="1" dirty="0"/>
              <a:t>ECGLC</a:t>
            </a:r>
            <a:r>
              <a:rPr lang="ru-RU" sz="1200" b="1" dirty="0">
                <a:solidFill>
                  <a:prstClr val="black"/>
                </a:solidFill>
              </a:rPr>
              <a:t>/</a:t>
            </a:r>
            <a:r>
              <a:rPr lang="en-US" sz="1200" b="1" dirty="0">
                <a:solidFill>
                  <a:prstClr val="black"/>
                </a:solidFill>
              </a:rPr>
              <a:t>CEPEGL</a:t>
            </a:r>
            <a:r>
              <a:rPr lang="ru-RU" sz="1200" b="1" dirty="0">
                <a:solidFill>
                  <a:prstClr val="black"/>
                </a:solidFill>
              </a:rPr>
              <a:t> </a:t>
            </a:r>
            <a:r>
              <a:rPr lang="ru-RU" sz="1000" dirty="0">
                <a:solidFill>
                  <a:prstClr val="black"/>
                </a:solidFill>
              </a:rPr>
              <a:t>(</a:t>
            </a:r>
            <a:r>
              <a:rPr lang="ru-RU" sz="1000" dirty="0" err="1">
                <a:solidFill>
                  <a:prstClr val="black"/>
                </a:solidFill>
              </a:rPr>
              <a:t>экон.сообщ</a:t>
            </a:r>
            <a:r>
              <a:rPr lang="ru-RU" sz="1000" dirty="0">
                <a:solidFill>
                  <a:prstClr val="black"/>
                </a:solidFill>
              </a:rPr>
              <a:t>-во стран региона ВО)</a:t>
            </a:r>
            <a:endParaRPr lang="en-US" sz="1600" b="1" dirty="0">
              <a:solidFill>
                <a:prstClr val="black"/>
              </a:solidFill>
            </a:endParaRPr>
          </a:p>
        </p:txBody>
      </p:sp>
      <p:sp>
        <p:nvSpPr>
          <p:cNvPr id="11" name="TextBox 10"/>
          <p:cNvSpPr txBox="1"/>
          <p:nvPr/>
        </p:nvSpPr>
        <p:spPr>
          <a:xfrm>
            <a:off x="383808" y="2225661"/>
            <a:ext cx="1635369" cy="507831"/>
          </a:xfrm>
          <a:prstGeom prst="rect">
            <a:avLst/>
          </a:prstGeom>
          <a:noFill/>
          <a:ln>
            <a:solidFill>
              <a:schemeClr val="accent1"/>
            </a:solidFill>
          </a:ln>
        </p:spPr>
        <p:txBody>
          <a:bodyPr wrap="square" rtlCol="0">
            <a:spAutoFit/>
          </a:bodyPr>
          <a:lstStyle/>
          <a:p>
            <a:r>
              <a:rPr lang="ru-RU" sz="1350" dirty="0"/>
              <a:t>ВВП на душу населения</a:t>
            </a:r>
            <a:r>
              <a:rPr lang="en-US" sz="1350" dirty="0"/>
              <a:t>: </a:t>
            </a:r>
            <a:r>
              <a:rPr lang="en-US" sz="1350" b="1" dirty="0"/>
              <a:t>$743</a:t>
            </a:r>
          </a:p>
        </p:txBody>
      </p:sp>
      <p:sp>
        <p:nvSpPr>
          <p:cNvPr id="13" name="TextBox 12"/>
          <p:cNvSpPr txBox="1"/>
          <p:nvPr/>
        </p:nvSpPr>
        <p:spPr>
          <a:xfrm>
            <a:off x="7331977" y="4546971"/>
            <a:ext cx="1275127" cy="300082"/>
          </a:xfrm>
          <a:prstGeom prst="rect">
            <a:avLst/>
          </a:prstGeom>
          <a:noFill/>
          <a:ln>
            <a:solidFill>
              <a:schemeClr val="accent1"/>
            </a:solidFill>
          </a:ln>
        </p:spPr>
        <p:txBody>
          <a:bodyPr wrap="square" rtlCol="0">
            <a:spAutoFit/>
          </a:bodyPr>
          <a:lstStyle/>
          <a:p>
            <a:r>
              <a:rPr lang="ru-RU" sz="1350" dirty="0"/>
              <a:t>Рост ВВП</a:t>
            </a:r>
            <a:r>
              <a:rPr lang="en-US" sz="1350" dirty="0"/>
              <a:t>: </a:t>
            </a:r>
            <a:r>
              <a:rPr lang="en-US" sz="1350" b="1" dirty="0"/>
              <a:t>8%.</a:t>
            </a:r>
          </a:p>
        </p:txBody>
      </p:sp>
      <p:sp>
        <p:nvSpPr>
          <p:cNvPr id="14" name="TextBox 13"/>
          <p:cNvSpPr txBox="1"/>
          <p:nvPr/>
        </p:nvSpPr>
        <p:spPr>
          <a:xfrm>
            <a:off x="5561135" y="5010073"/>
            <a:ext cx="1569507" cy="715581"/>
          </a:xfrm>
          <a:prstGeom prst="rect">
            <a:avLst/>
          </a:prstGeom>
          <a:noFill/>
          <a:ln>
            <a:solidFill>
              <a:schemeClr val="accent1"/>
            </a:solidFill>
          </a:ln>
        </p:spPr>
        <p:txBody>
          <a:bodyPr wrap="square" rtlCol="0">
            <a:spAutoFit/>
          </a:bodyPr>
          <a:lstStyle/>
          <a:p>
            <a:r>
              <a:rPr lang="ru-RU" sz="1350" dirty="0"/>
              <a:t>Валовые инвестиции (от ВВП)</a:t>
            </a:r>
            <a:r>
              <a:rPr lang="en-US" sz="1350" dirty="0"/>
              <a:t>: </a:t>
            </a:r>
            <a:r>
              <a:rPr lang="en-US" sz="1350" b="1" dirty="0"/>
              <a:t>26%</a:t>
            </a:r>
          </a:p>
        </p:txBody>
      </p:sp>
      <p:sp>
        <p:nvSpPr>
          <p:cNvPr id="15" name="TextBox 14"/>
          <p:cNvSpPr txBox="1"/>
          <p:nvPr/>
        </p:nvSpPr>
        <p:spPr>
          <a:xfrm>
            <a:off x="383808" y="4892920"/>
            <a:ext cx="1512524" cy="715581"/>
          </a:xfrm>
          <a:prstGeom prst="rect">
            <a:avLst/>
          </a:prstGeom>
          <a:noFill/>
          <a:ln>
            <a:solidFill>
              <a:schemeClr val="accent1"/>
            </a:solidFill>
          </a:ln>
        </p:spPr>
        <p:txBody>
          <a:bodyPr wrap="square" rtlCol="0">
            <a:spAutoFit/>
          </a:bodyPr>
          <a:lstStyle/>
          <a:p>
            <a:r>
              <a:rPr lang="ru-RU" sz="1350" dirty="0"/>
              <a:t>Внешнеторговый баланс </a:t>
            </a:r>
            <a:r>
              <a:rPr lang="en-US" sz="1350" dirty="0"/>
              <a:t>(</a:t>
            </a:r>
            <a:r>
              <a:rPr lang="ru-RU" sz="1350" dirty="0"/>
              <a:t>от ВВП</a:t>
            </a:r>
            <a:r>
              <a:rPr lang="en-US" sz="1350" dirty="0"/>
              <a:t>):</a:t>
            </a:r>
            <a:r>
              <a:rPr lang="en-US" sz="1350" b="1" dirty="0"/>
              <a:t>15.4%.</a:t>
            </a:r>
            <a:r>
              <a:rPr lang="ru-RU" sz="1350" b="1" dirty="0"/>
              <a:t>  </a:t>
            </a:r>
            <a:endParaRPr lang="en-US" sz="1350" b="1" dirty="0"/>
          </a:p>
        </p:txBody>
      </p:sp>
      <p:sp>
        <p:nvSpPr>
          <p:cNvPr id="16" name="TextBox 15"/>
          <p:cNvSpPr txBox="1"/>
          <p:nvPr/>
        </p:nvSpPr>
        <p:spPr>
          <a:xfrm>
            <a:off x="174444" y="3685311"/>
            <a:ext cx="2281542" cy="715581"/>
          </a:xfrm>
          <a:prstGeom prst="rect">
            <a:avLst/>
          </a:prstGeom>
          <a:noFill/>
          <a:ln>
            <a:solidFill>
              <a:schemeClr val="accent1"/>
            </a:solidFill>
          </a:ln>
        </p:spPr>
        <p:txBody>
          <a:bodyPr wrap="square" rtlCol="0">
            <a:spAutoFit/>
          </a:bodyPr>
          <a:lstStyle/>
          <a:p>
            <a:r>
              <a:rPr lang="ru-RU" sz="1350" dirty="0"/>
              <a:t>Валовой национальный доход (сбережения)</a:t>
            </a:r>
            <a:r>
              <a:rPr lang="en-US" sz="1350" dirty="0"/>
              <a:t>: </a:t>
            </a:r>
            <a:r>
              <a:rPr lang="en-US" sz="1350" b="1" dirty="0"/>
              <a:t>15.3% </a:t>
            </a:r>
            <a:r>
              <a:rPr lang="ru-RU" sz="1350" b="1" dirty="0"/>
              <a:t>от ВВП</a:t>
            </a:r>
            <a:r>
              <a:rPr lang="en-US" sz="1350" dirty="0"/>
              <a:t>. </a:t>
            </a:r>
          </a:p>
        </p:txBody>
      </p:sp>
      <p:cxnSp>
        <p:nvCxnSpPr>
          <p:cNvPr id="18" name="Straight Connector 17"/>
          <p:cNvCxnSpPr/>
          <p:nvPr/>
        </p:nvCxnSpPr>
        <p:spPr>
          <a:xfrm>
            <a:off x="3780693" y="2053410"/>
            <a:ext cx="8792" cy="571094"/>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010632" y="2502660"/>
            <a:ext cx="969961" cy="836907"/>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455985" y="4000648"/>
            <a:ext cx="401069"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a:stCxn id="15" idx="3"/>
          </p:cNvCxnSpPr>
          <p:nvPr/>
        </p:nvCxnSpPr>
        <p:spPr>
          <a:xfrm flipV="1">
            <a:off x="1896332" y="5010077"/>
            <a:ext cx="559653" cy="2406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flipV="1">
            <a:off x="4475285" y="4558812"/>
            <a:ext cx="1085851" cy="576482"/>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a:stCxn id="13" idx="1"/>
          </p:cNvCxnSpPr>
          <p:nvPr/>
        </p:nvCxnSpPr>
        <p:spPr>
          <a:xfrm flipH="1" flipV="1">
            <a:off x="6059453" y="4628460"/>
            <a:ext cx="1272524" cy="68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a:stCxn id="10" idx="1"/>
          </p:cNvCxnSpPr>
          <p:nvPr/>
        </p:nvCxnSpPr>
        <p:spPr>
          <a:xfrm flipH="1" flipV="1">
            <a:off x="6119450" y="3201086"/>
            <a:ext cx="694588" cy="496271"/>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a:stCxn id="9" idx="1"/>
          </p:cNvCxnSpPr>
          <p:nvPr/>
        </p:nvCxnSpPr>
        <p:spPr>
          <a:xfrm flipH="1">
            <a:off x="5899641" y="2341949"/>
            <a:ext cx="762246" cy="389395"/>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0" y="6487685"/>
            <a:ext cx="7706983"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pic>
        <p:nvPicPr>
          <p:cNvPr id="27" name="Picture 26" descr="RDB log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06983" y="5806292"/>
            <a:ext cx="1323354" cy="1051708"/>
          </a:xfrm>
          <a:prstGeom prst="rect">
            <a:avLst/>
          </a:prstGeom>
        </p:spPr>
      </p:pic>
    </p:spTree>
    <p:extLst>
      <p:ext uri="{BB962C8B-B14F-4D97-AF65-F5344CB8AC3E}">
        <p14:creationId xmlns:p14="http://schemas.microsoft.com/office/powerpoint/2010/main" val="16068488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RDB 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06983" y="5806941"/>
            <a:ext cx="1186192" cy="1051708"/>
          </a:xfrm>
          <a:prstGeom prst="rect">
            <a:avLst/>
          </a:prstGeom>
        </p:spPr>
      </p:pic>
      <p:sp>
        <p:nvSpPr>
          <p:cNvPr id="16" name="Rectangle 15"/>
          <p:cNvSpPr/>
          <p:nvPr/>
        </p:nvSpPr>
        <p:spPr>
          <a:xfrm>
            <a:off x="4793046" y="2275309"/>
            <a:ext cx="4225119" cy="1309775"/>
          </a:xfrm>
          <a:prstGeom prst="rect">
            <a:avLst/>
          </a:prstGeom>
          <a:solidFill>
            <a:srgbClr val="C7E0FB"/>
          </a:solidFill>
        </p:spPr>
        <p:txBody>
          <a:bodyPr wrap="square" lIns="288000" tIns="73152" rIns="73152" bIns="73152" anchor="ctr">
            <a:noAutofit/>
          </a:bodyPr>
          <a:lstStyle/>
          <a:p>
            <a:pPr marL="171450" lvl="0" indent="-171450" defTabSz="914400" eaLnBrk="0" hangingPunct="0">
              <a:lnSpc>
                <a:spcPct val="90000"/>
              </a:lnSpc>
              <a:buClr>
                <a:srgbClr val="FF6600"/>
              </a:buClr>
              <a:buSzPct val="100000"/>
              <a:buFont typeface="Arial" pitchFamily="34" charset="0"/>
              <a:buChar char="•"/>
              <a:defRPr/>
            </a:pPr>
            <a:r>
              <a:rPr lang="ru-RU" sz="1200" kern="0" dirty="0">
                <a:solidFill>
                  <a:sysClr val="windowText" lastClr="000000"/>
                </a:solidFill>
                <a:cs typeface="Arial" pitchFamily="34" charset="0"/>
              </a:rPr>
              <a:t>Установка автономных систем на солнечных преобразователях («солнечные дома»)</a:t>
            </a:r>
            <a:r>
              <a:rPr lang="en-US" sz="1200" kern="0" dirty="0">
                <a:solidFill>
                  <a:sysClr val="windowText" lastClr="000000"/>
                </a:solidFill>
                <a:cs typeface="Arial" pitchFamily="34" charset="0"/>
              </a:rPr>
              <a:t>, </a:t>
            </a:r>
            <a:r>
              <a:rPr lang="ru-RU" sz="1200" kern="0" dirty="0">
                <a:solidFill>
                  <a:sysClr val="windowText" lastClr="000000"/>
                </a:solidFill>
                <a:cs typeface="Arial" pitchFamily="34" charset="0"/>
              </a:rPr>
              <a:t>солнечных </a:t>
            </a:r>
            <a:r>
              <a:rPr lang="ru-RU" sz="1200" kern="0" dirty="0" err="1">
                <a:solidFill>
                  <a:sysClr val="windowText" lastClr="000000"/>
                </a:solidFill>
                <a:cs typeface="Arial" pitchFamily="34" charset="0"/>
              </a:rPr>
              <a:t>миниэнергосистем</a:t>
            </a:r>
            <a:r>
              <a:rPr lang="ru-RU" sz="1200" kern="0" dirty="0">
                <a:solidFill>
                  <a:sysClr val="windowText" lastClr="000000"/>
                </a:solidFill>
                <a:cs typeface="Arial" pitchFamily="34" charset="0"/>
              </a:rPr>
              <a:t> с гибридными решениями и системой хранения</a:t>
            </a:r>
            <a:r>
              <a:rPr lang="en-US" sz="1200" kern="0" dirty="0">
                <a:solidFill>
                  <a:sysClr val="windowText" lastClr="000000"/>
                </a:solidFill>
                <a:cs typeface="Arial" pitchFamily="34" charset="0"/>
              </a:rPr>
              <a:t>.</a:t>
            </a:r>
          </a:p>
          <a:p>
            <a:pPr marL="171450" marR="0" lvl="0" indent="-171450" defTabSz="914400" eaLnBrk="0" fontAlgn="auto" latinLnBrk="0" hangingPunct="0">
              <a:lnSpc>
                <a:spcPct val="90000"/>
              </a:lnSpc>
              <a:buClr>
                <a:srgbClr val="FF6600"/>
              </a:buClr>
              <a:buSzPct val="100000"/>
              <a:buFont typeface="Arial" pitchFamily="34" charset="0"/>
              <a:buChar char="•"/>
              <a:tabLst/>
              <a:defRPr/>
            </a:pPr>
            <a:r>
              <a:rPr lang="ru-RU" sz="1200" kern="0" dirty="0">
                <a:solidFill>
                  <a:sysClr val="windowText" lastClr="000000"/>
                </a:solidFill>
                <a:cs typeface="Arial" pitchFamily="34" charset="0"/>
              </a:rPr>
              <a:t>Высокий спрос на </a:t>
            </a:r>
            <a:r>
              <a:rPr lang="ru-RU" sz="1200" b="1" kern="0" dirty="0">
                <a:solidFill>
                  <a:sysClr val="windowText" lastClr="000000"/>
                </a:solidFill>
                <a:cs typeface="Arial" pitchFamily="34" charset="0"/>
              </a:rPr>
              <a:t>солнечную энергию для освещения в сельской местности</a:t>
            </a:r>
            <a:r>
              <a:rPr lang="en-US" sz="1200" kern="0" dirty="0">
                <a:solidFill>
                  <a:sysClr val="windowText" lastClr="000000"/>
                </a:solidFill>
                <a:cs typeface="Arial" pitchFamily="34" charset="0"/>
              </a:rPr>
              <a:t>.</a:t>
            </a:r>
          </a:p>
          <a:p>
            <a:pPr marL="171450" marR="0" lvl="0" indent="-171450" defTabSz="914400" eaLnBrk="0" fontAlgn="auto" latinLnBrk="0" hangingPunct="0">
              <a:lnSpc>
                <a:spcPct val="90000"/>
              </a:lnSpc>
              <a:buClr>
                <a:srgbClr val="FF6600"/>
              </a:buClr>
              <a:buSzPct val="100000"/>
              <a:buFont typeface="Arial" pitchFamily="34" charset="0"/>
              <a:buChar char="•"/>
              <a:tabLst/>
              <a:defRPr/>
            </a:pPr>
            <a:r>
              <a:rPr lang="ru-RU" sz="1200" kern="0" dirty="0">
                <a:solidFill>
                  <a:sysClr val="windowText" lastClr="000000"/>
                </a:solidFill>
                <a:cs typeface="Arial" pitchFamily="34" charset="0"/>
              </a:rPr>
              <a:t>Вовлечение частного сектора посредством внедрения</a:t>
            </a:r>
            <a:r>
              <a:rPr lang="ru-RU" sz="1200" b="1" kern="0" dirty="0">
                <a:solidFill>
                  <a:sysClr val="windowText" lastClr="000000"/>
                </a:solidFill>
                <a:cs typeface="Arial" pitchFamily="34" charset="0"/>
              </a:rPr>
              <a:t> модулей независимого производства энергии.  </a:t>
            </a:r>
            <a:endParaRPr kumimoji="0" lang="en-US" sz="1200" b="1" i="0" u="none" strike="noStrike" kern="0" cap="none" spc="0" normalizeH="0" baseline="0" noProof="0" dirty="0">
              <a:ln>
                <a:noFill/>
              </a:ln>
              <a:solidFill>
                <a:sysClr val="windowText" lastClr="000000"/>
              </a:solidFill>
              <a:effectLst/>
              <a:uLnTx/>
              <a:uFillTx/>
              <a:cs typeface="Arial" pitchFamily="34" charset="0"/>
            </a:endParaRPr>
          </a:p>
        </p:txBody>
      </p:sp>
      <p:sp>
        <p:nvSpPr>
          <p:cNvPr id="17" name="Rectangle 16"/>
          <p:cNvSpPr/>
          <p:nvPr/>
        </p:nvSpPr>
        <p:spPr>
          <a:xfrm>
            <a:off x="4793047" y="3690789"/>
            <a:ext cx="4225118" cy="1224000"/>
          </a:xfrm>
          <a:prstGeom prst="rect">
            <a:avLst/>
          </a:prstGeom>
          <a:solidFill>
            <a:srgbClr val="C7E0FB"/>
          </a:solidFill>
        </p:spPr>
        <p:txBody>
          <a:bodyPr wrap="square" lIns="288000" tIns="73152" rIns="73152" bIns="73152" anchor="ctr">
            <a:noAutofit/>
          </a:bodyPr>
          <a:lstStyle/>
          <a:p>
            <a:pPr marL="171450" lvl="0" indent="-171450" defTabSz="914400" eaLnBrk="0" hangingPunct="0">
              <a:lnSpc>
                <a:spcPct val="90000"/>
              </a:lnSpc>
              <a:spcAft>
                <a:spcPts val="600"/>
              </a:spcAft>
              <a:buClr>
                <a:srgbClr val="FF6600"/>
              </a:buClr>
              <a:buSzPct val="100000"/>
              <a:buFont typeface="Arial" pitchFamily="34" charset="0"/>
              <a:buChar char="•"/>
              <a:defRPr/>
            </a:pPr>
            <a:r>
              <a:rPr lang="ru-RU" sz="1200" kern="0" dirty="0">
                <a:solidFill>
                  <a:sysClr val="windowText" lastClr="000000"/>
                </a:solidFill>
                <a:cs typeface="Arial" pitchFamily="34" charset="0"/>
              </a:rPr>
              <a:t>Правительство планирует строительство  </a:t>
            </a:r>
            <a:r>
              <a:rPr lang="ru-RU" sz="1200" b="1" kern="0" dirty="0">
                <a:solidFill>
                  <a:sysClr val="windowText" lastClr="000000"/>
                </a:solidFill>
                <a:cs typeface="Arial" pitchFamily="34" charset="0"/>
              </a:rPr>
              <a:t>кольцевой дороги</a:t>
            </a:r>
            <a:r>
              <a:rPr lang="ru-RU" sz="1200" kern="0" dirty="0">
                <a:solidFill>
                  <a:sysClr val="windowText" lastClr="000000"/>
                </a:solidFill>
                <a:cs typeface="Arial" pitchFamily="34" charset="0"/>
              </a:rPr>
              <a:t> длиной </a:t>
            </a:r>
            <a:r>
              <a:rPr lang="ru-RU" sz="1200" b="1" kern="0" dirty="0">
                <a:solidFill>
                  <a:sysClr val="windowText" lastClr="000000"/>
                </a:solidFill>
                <a:cs typeface="Arial" pitchFamily="34" charset="0"/>
              </a:rPr>
              <a:t>80км </a:t>
            </a:r>
            <a:endParaRPr lang="en-US" sz="1200" kern="0" dirty="0">
              <a:solidFill>
                <a:sysClr val="windowText" lastClr="000000"/>
              </a:solidFill>
              <a:cs typeface="Arial" pitchFamily="34" charset="0"/>
            </a:endParaRPr>
          </a:p>
          <a:p>
            <a:pPr marL="171450" marR="0" lvl="0" indent="-171450" defTabSz="914400" eaLnBrk="0" fontAlgn="auto" latinLnBrk="0" hangingPunct="0">
              <a:lnSpc>
                <a:spcPct val="90000"/>
              </a:lnSpc>
              <a:spcBef>
                <a:spcPts val="0"/>
              </a:spcBef>
              <a:spcAft>
                <a:spcPts val="600"/>
              </a:spcAft>
              <a:buClr>
                <a:srgbClr val="FF6600"/>
              </a:buClr>
              <a:buSzPct val="100000"/>
              <a:buFont typeface="Arial" pitchFamily="34" charset="0"/>
              <a:buChar char="•"/>
              <a:tabLst/>
              <a:defRPr/>
            </a:pPr>
            <a:r>
              <a:rPr kumimoji="0" lang="ru-RU" sz="1200" b="1" i="0" u="none" strike="noStrike" kern="0" cap="none" spc="0" normalizeH="0" baseline="0" dirty="0">
                <a:ln>
                  <a:noFill/>
                </a:ln>
                <a:solidFill>
                  <a:sysClr val="windowText" lastClr="000000"/>
                </a:solidFill>
                <a:effectLst/>
                <a:uLnTx/>
                <a:uFillTx/>
                <a:cs typeface="Arial" pitchFamily="34" charset="0"/>
              </a:rPr>
              <a:t>Строительство платной дороги </a:t>
            </a:r>
            <a:r>
              <a:rPr kumimoji="0" lang="ru-RU" sz="1200" b="0" i="0" u="none" strike="noStrike" kern="0" cap="none" spc="0" normalizeH="0" baseline="0" dirty="0">
                <a:ln>
                  <a:noFill/>
                </a:ln>
                <a:solidFill>
                  <a:sysClr val="windowText" lastClr="000000"/>
                </a:solidFill>
                <a:effectLst/>
                <a:uLnTx/>
                <a:uFillTx/>
                <a:cs typeface="Arial" pitchFamily="34" charset="0"/>
              </a:rPr>
              <a:t>на основании ГЧ  финансирования</a:t>
            </a:r>
            <a:r>
              <a:rPr kumimoji="0" lang="en-US" sz="1200" b="0" i="0" u="none" strike="noStrike" kern="0" cap="none" spc="0" normalizeH="0" dirty="0">
                <a:ln>
                  <a:noFill/>
                </a:ln>
                <a:solidFill>
                  <a:sysClr val="windowText" lastClr="000000"/>
                </a:solidFill>
                <a:effectLst/>
                <a:uLnTx/>
                <a:uFillTx/>
                <a:cs typeface="Arial" pitchFamily="34" charset="0"/>
              </a:rPr>
              <a:t>.</a:t>
            </a:r>
            <a:endParaRPr kumimoji="0" lang="en-US" sz="1200" b="0" i="0" u="none" strike="noStrike" kern="0" cap="none" spc="0" normalizeH="0" baseline="0" dirty="0">
              <a:ln>
                <a:noFill/>
              </a:ln>
              <a:solidFill>
                <a:sysClr val="windowText" lastClr="000000"/>
              </a:solidFill>
              <a:effectLst/>
              <a:uLnTx/>
              <a:uFillTx/>
              <a:cs typeface="Arial" pitchFamily="34" charset="0"/>
            </a:endParaRPr>
          </a:p>
        </p:txBody>
      </p:sp>
      <p:sp>
        <p:nvSpPr>
          <p:cNvPr id="18" name="Rectangle 17"/>
          <p:cNvSpPr/>
          <p:nvPr/>
        </p:nvSpPr>
        <p:spPr>
          <a:xfrm>
            <a:off x="4793047" y="5020493"/>
            <a:ext cx="4225118" cy="1224000"/>
          </a:xfrm>
          <a:prstGeom prst="rect">
            <a:avLst/>
          </a:prstGeom>
          <a:solidFill>
            <a:srgbClr val="C7E0FB"/>
          </a:solidFill>
        </p:spPr>
        <p:txBody>
          <a:bodyPr wrap="square" lIns="288000" tIns="73152" rIns="73152" bIns="73152" anchor="ctr">
            <a:noAutofit/>
          </a:bodyPr>
          <a:lstStyle/>
          <a:p>
            <a:pPr marL="171450" lvl="0" indent="-171450" defTabSz="914400" eaLnBrk="0" hangingPunct="0">
              <a:lnSpc>
                <a:spcPct val="90000"/>
              </a:lnSpc>
              <a:spcAft>
                <a:spcPts val="600"/>
              </a:spcAft>
              <a:buClr>
                <a:srgbClr val="FF6600"/>
              </a:buClr>
              <a:buSzPct val="100000"/>
              <a:buFont typeface="Arial" pitchFamily="34" charset="0"/>
              <a:buChar char="•"/>
              <a:defRPr/>
            </a:pPr>
            <a:r>
              <a:rPr lang="ru-RU" sz="1200" b="1" kern="0" dirty="0">
                <a:solidFill>
                  <a:sysClr val="windowText" lastClr="000000"/>
                </a:solidFill>
                <a:cs typeface="Arial" pitchFamily="34" charset="0"/>
              </a:rPr>
              <a:t>Проект </a:t>
            </a:r>
            <a:r>
              <a:rPr lang="ru-RU" sz="1200" b="1" kern="0" dirty="0" err="1">
                <a:solidFill>
                  <a:sysClr val="windowText" lastClr="000000"/>
                </a:solidFill>
                <a:cs typeface="Arial" pitchFamily="34" charset="0"/>
              </a:rPr>
              <a:t>Ньяборонго</a:t>
            </a:r>
            <a:r>
              <a:rPr lang="en-US" sz="1200" b="1" kern="0" dirty="0">
                <a:solidFill>
                  <a:sysClr val="windowText" lastClr="000000"/>
                </a:solidFill>
                <a:cs typeface="Arial" pitchFamily="34" charset="0"/>
              </a:rPr>
              <a:t> II ($520</a:t>
            </a:r>
            <a:r>
              <a:rPr lang="ru-RU" sz="1200" b="1" kern="0" dirty="0">
                <a:solidFill>
                  <a:sysClr val="windowText" lastClr="000000"/>
                </a:solidFill>
                <a:cs typeface="Arial" pitchFamily="34" charset="0"/>
              </a:rPr>
              <a:t>М</a:t>
            </a:r>
            <a:r>
              <a:rPr lang="en-US" sz="1200" b="1" kern="0" dirty="0">
                <a:solidFill>
                  <a:sysClr val="windowText" lastClr="000000"/>
                </a:solidFill>
                <a:cs typeface="Arial" pitchFamily="34" charset="0"/>
              </a:rPr>
              <a:t>): </a:t>
            </a:r>
            <a:r>
              <a:rPr lang="ru-RU" sz="1200" kern="0" dirty="0">
                <a:solidFill>
                  <a:sysClr val="windowText" lastClr="000000"/>
                </a:solidFill>
                <a:cs typeface="Arial" pitchFamily="34" charset="0"/>
              </a:rPr>
              <a:t>производство гидроэлектростанции мощностью</a:t>
            </a:r>
            <a:r>
              <a:rPr lang="en-US" sz="1200" kern="0" dirty="0">
                <a:solidFill>
                  <a:sysClr val="windowText" lastClr="000000"/>
                </a:solidFill>
                <a:cs typeface="Arial" pitchFamily="34" charset="0"/>
              </a:rPr>
              <a:t> 128MW</a:t>
            </a:r>
            <a:r>
              <a:rPr lang="ru-RU" sz="1200" kern="0" dirty="0">
                <a:solidFill>
                  <a:sysClr val="windowText" lastClr="000000"/>
                </a:solidFill>
                <a:cs typeface="Arial" pitchFamily="34" charset="0"/>
              </a:rPr>
              <a:t> с интегрированными компонентами для водоснабжения и </a:t>
            </a:r>
            <a:r>
              <a:rPr lang="en-US" sz="1200" kern="0" dirty="0">
                <a:solidFill>
                  <a:sysClr val="windowText" lastClr="000000"/>
                </a:solidFill>
                <a:cs typeface="Arial" pitchFamily="34" charset="0"/>
              </a:rPr>
              <a:t> </a:t>
            </a:r>
            <a:r>
              <a:rPr lang="ru-RU" sz="1200" kern="0" dirty="0">
                <a:solidFill>
                  <a:sysClr val="windowText" lastClr="000000"/>
                </a:solidFill>
                <a:cs typeface="Arial" pitchFamily="34" charset="0"/>
              </a:rPr>
              <a:t>ирригационных систем</a:t>
            </a:r>
            <a:r>
              <a:rPr lang="en-US" sz="1200" kern="0" dirty="0">
                <a:solidFill>
                  <a:sysClr val="windowText" lastClr="000000"/>
                </a:solidFill>
                <a:cs typeface="Arial" pitchFamily="34" charset="0"/>
              </a:rPr>
              <a:t>.</a:t>
            </a:r>
          </a:p>
          <a:p>
            <a:pPr marL="171450" lvl="0" indent="-171450" defTabSz="914400" eaLnBrk="0" hangingPunct="0">
              <a:lnSpc>
                <a:spcPct val="90000"/>
              </a:lnSpc>
              <a:spcAft>
                <a:spcPts val="600"/>
              </a:spcAft>
              <a:buClr>
                <a:srgbClr val="FF6600"/>
              </a:buClr>
              <a:buSzPct val="100000"/>
              <a:buFont typeface="Arial" pitchFamily="34" charset="0"/>
              <a:buChar char="•"/>
              <a:defRPr/>
            </a:pPr>
            <a:r>
              <a:rPr lang="ru-RU" sz="1200" b="1" kern="0" dirty="0">
                <a:solidFill>
                  <a:sysClr val="windowText" lastClr="000000"/>
                </a:solidFill>
                <a:cs typeface="Arial" pitchFamily="34" charset="0"/>
              </a:rPr>
              <a:t>Проект по водоснабжению в </a:t>
            </a:r>
            <a:r>
              <a:rPr lang="ru-RU" sz="1200" b="1" kern="0" dirty="0" err="1">
                <a:solidFill>
                  <a:sysClr val="windowText" lastClr="000000"/>
                </a:solidFill>
                <a:cs typeface="Arial" pitchFamily="34" charset="0"/>
              </a:rPr>
              <a:t>Мутобо</a:t>
            </a:r>
            <a:r>
              <a:rPr lang="ru-RU" sz="1200" b="1" kern="0" dirty="0">
                <a:solidFill>
                  <a:sysClr val="windowText" lastClr="000000"/>
                </a:solidFill>
                <a:cs typeface="Arial" pitchFamily="34" charset="0"/>
              </a:rPr>
              <a:t> </a:t>
            </a:r>
            <a:r>
              <a:rPr lang="en-US" sz="1200" b="1" kern="0" dirty="0">
                <a:solidFill>
                  <a:sysClr val="windowText" lastClr="000000"/>
                </a:solidFill>
                <a:cs typeface="Arial" pitchFamily="34" charset="0"/>
              </a:rPr>
              <a:t>($300</a:t>
            </a:r>
            <a:r>
              <a:rPr lang="ru-RU" sz="1200" b="1" kern="0" dirty="0">
                <a:solidFill>
                  <a:sysClr val="windowText" lastClr="000000"/>
                </a:solidFill>
                <a:cs typeface="Arial" pitchFamily="34" charset="0"/>
              </a:rPr>
              <a:t>М</a:t>
            </a:r>
            <a:r>
              <a:rPr lang="en-US" sz="1200" b="1" kern="0" dirty="0">
                <a:solidFill>
                  <a:sysClr val="windowText" lastClr="000000"/>
                </a:solidFill>
                <a:cs typeface="Arial" pitchFamily="34" charset="0"/>
              </a:rPr>
              <a:t>): </a:t>
            </a:r>
            <a:r>
              <a:rPr lang="ru-RU" sz="1200" kern="0" dirty="0">
                <a:solidFill>
                  <a:sysClr val="windowText" lastClr="000000"/>
                </a:solidFill>
                <a:cs typeface="Arial" pitchFamily="34" charset="0"/>
              </a:rPr>
              <a:t>Поставка</a:t>
            </a:r>
            <a:r>
              <a:rPr lang="ru-RU" sz="1200" b="1" kern="0" dirty="0">
                <a:solidFill>
                  <a:sysClr val="windowText" lastClr="000000"/>
                </a:solidFill>
                <a:cs typeface="Arial" pitchFamily="34" charset="0"/>
              </a:rPr>
              <a:t> </a:t>
            </a:r>
            <a:r>
              <a:rPr lang="en-US" sz="1200" kern="0" dirty="0">
                <a:solidFill>
                  <a:sysClr val="windowText" lastClr="000000"/>
                </a:solidFill>
                <a:cs typeface="Arial" pitchFamily="34" charset="0"/>
              </a:rPr>
              <a:t>120</a:t>
            </a:r>
            <a:r>
              <a:rPr lang="ru-RU" sz="1200" kern="0" dirty="0">
                <a:solidFill>
                  <a:sysClr val="windowText" lastClr="000000"/>
                </a:solidFill>
                <a:cs typeface="Arial" pitchFamily="34" charset="0"/>
              </a:rPr>
              <a:t> </a:t>
            </a:r>
            <a:r>
              <a:rPr lang="en-US" sz="1200" kern="0" dirty="0">
                <a:solidFill>
                  <a:sysClr val="windowText" lastClr="000000"/>
                </a:solidFill>
                <a:cs typeface="Arial" pitchFamily="34" charset="0"/>
              </a:rPr>
              <a:t>000</a:t>
            </a:r>
            <a:r>
              <a:rPr lang="ru-RU" sz="1200" kern="0" dirty="0">
                <a:solidFill>
                  <a:sysClr val="windowText" lastClr="000000"/>
                </a:solidFill>
                <a:cs typeface="Arial" pitchFamily="34" charset="0"/>
              </a:rPr>
              <a:t> м</a:t>
            </a:r>
            <a:r>
              <a:rPr lang="en-US" sz="1200" kern="0" baseline="30000" dirty="0">
                <a:solidFill>
                  <a:sysClr val="windowText" lastClr="000000"/>
                </a:solidFill>
                <a:cs typeface="Arial" pitchFamily="34" charset="0"/>
              </a:rPr>
              <a:t>3</a:t>
            </a:r>
            <a:r>
              <a:rPr lang="ru-RU" sz="1200" kern="0" baseline="30000" dirty="0">
                <a:solidFill>
                  <a:sysClr val="windowText" lastClr="000000"/>
                </a:solidFill>
                <a:cs typeface="Arial" pitchFamily="34" charset="0"/>
              </a:rPr>
              <a:t> </a:t>
            </a:r>
            <a:r>
              <a:rPr lang="ru-RU" sz="1200" kern="0" dirty="0">
                <a:solidFill>
                  <a:sysClr val="windowText" lastClr="000000"/>
                </a:solidFill>
                <a:cs typeface="Arial" pitchFamily="34" charset="0"/>
              </a:rPr>
              <a:t>воды в день</a:t>
            </a:r>
            <a:r>
              <a:rPr lang="en-US" sz="1200" kern="0" dirty="0">
                <a:solidFill>
                  <a:sysClr val="windowText" lastClr="000000"/>
                </a:solidFill>
                <a:cs typeface="Arial" pitchFamily="34" charset="0"/>
              </a:rPr>
              <a:t>  </a:t>
            </a:r>
            <a:r>
              <a:rPr lang="ru-RU" sz="1200" kern="0" dirty="0">
                <a:solidFill>
                  <a:sysClr val="windowText" lastClr="000000"/>
                </a:solidFill>
                <a:cs typeface="Arial" pitchFamily="34" charset="0"/>
              </a:rPr>
              <a:t>в Кигали и близлежащие районы</a:t>
            </a:r>
            <a:r>
              <a:rPr lang="en-US" sz="1200" kern="0" dirty="0">
                <a:solidFill>
                  <a:sysClr val="windowText" lastClr="000000"/>
                </a:solidFill>
                <a:cs typeface="Arial" pitchFamily="34" charset="0"/>
              </a:rPr>
              <a:t>.</a:t>
            </a:r>
            <a:endParaRPr lang="en-US" sz="1200" kern="0" baseline="30000" dirty="0">
              <a:solidFill>
                <a:sysClr val="windowText" lastClr="000000"/>
              </a:solidFill>
              <a:cs typeface="Arial" pitchFamily="34" charset="0"/>
            </a:endParaRPr>
          </a:p>
        </p:txBody>
      </p:sp>
      <p:sp>
        <p:nvSpPr>
          <p:cNvPr id="19" name="Title 3"/>
          <p:cNvSpPr txBox="1">
            <a:spLocks/>
          </p:cNvSpPr>
          <p:nvPr/>
        </p:nvSpPr>
        <p:spPr bwMode="auto">
          <a:xfrm>
            <a:off x="250825" y="266947"/>
            <a:ext cx="8642350"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ct val="90000"/>
              </a:lnSpc>
              <a:spcBef>
                <a:spcPct val="0"/>
              </a:spcBef>
              <a:spcAft>
                <a:spcPct val="0"/>
              </a:spcAft>
              <a:defRPr sz="2400" b="1" kern="1200">
                <a:solidFill>
                  <a:schemeClr val="tx2"/>
                </a:solidFill>
                <a:latin typeface="Arial"/>
                <a:ea typeface="+mj-ea"/>
                <a:cs typeface="Arial"/>
                <a:sym typeface="Arial"/>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ru-RU" sz="2800" b="1" i="0" u="none" strike="noStrike" kern="1200" cap="none" spc="0" normalizeH="0" baseline="0" noProof="0" dirty="0">
                <a:ln>
                  <a:noFill/>
                </a:ln>
                <a:solidFill>
                  <a:srgbClr val="002960"/>
                </a:solidFill>
                <a:effectLst/>
                <a:uLnTx/>
                <a:uFillTx/>
                <a:latin typeface="Arial"/>
                <a:ea typeface="+mj-ea"/>
                <a:cs typeface="Arial"/>
                <a:sym typeface="Arial"/>
              </a:rPr>
              <a:t>Инфраструктура </a:t>
            </a:r>
            <a:endParaRPr kumimoji="0" lang="en-GB" sz="2800" b="1" i="0" u="none" strike="noStrike" kern="1200" cap="none" spc="0" normalizeH="0" baseline="0" noProof="0" dirty="0">
              <a:ln>
                <a:noFill/>
              </a:ln>
              <a:solidFill>
                <a:srgbClr val="002960"/>
              </a:solidFill>
              <a:effectLst/>
              <a:uLnTx/>
              <a:uFillTx/>
              <a:latin typeface="Arial"/>
              <a:ea typeface="+mj-ea"/>
              <a:cs typeface="Arial"/>
              <a:sym typeface="Arial"/>
            </a:endParaRPr>
          </a:p>
        </p:txBody>
      </p:sp>
      <p:sp>
        <p:nvSpPr>
          <p:cNvPr id="20" name="TextBox 19"/>
          <p:cNvSpPr txBox="1"/>
          <p:nvPr/>
        </p:nvSpPr>
        <p:spPr bwMode="gray">
          <a:xfrm>
            <a:off x="344780" y="1179513"/>
            <a:ext cx="8148885" cy="498598"/>
          </a:xfrm>
          <a:prstGeom prst="rect">
            <a:avLst/>
          </a:prstGeom>
          <a:noFill/>
          <a:ln w="6350">
            <a:noFill/>
          </a:ln>
          <a:extLst>
            <a:ext uri="{91240B29-F687-4F45-9708-019B960494DF}">
              <a14:hiddenLine xmlns:a14="http://schemas.microsoft.com/office/drawing/2010/main" w="6350">
                <a:solidFill>
                  <a:srgbClr val="ADABA1"/>
                </a:solidFill>
              </a14:hiddenLine>
            </a:ext>
          </a:extLst>
        </p:spPr>
        <p:txBody>
          <a:bodyPr wrap="square" lIns="0" tIns="0" rIns="0" bIns="0" rtlCol="0" anchor="t" anchorCtr="0">
            <a:spAutoFit/>
          </a:bodyPr>
          <a:lstStyle/>
          <a:p>
            <a:pPr algn="ctr">
              <a:lnSpc>
                <a:spcPct val="90000"/>
              </a:lnSpc>
            </a:pPr>
            <a:r>
              <a:rPr lang="ru-RU" b="1" dirty="0">
                <a:latin typeface="Arial"/>
                <a:cs typeface="Arial" pitchFamily="34" charset="0"/>
              </a:rPr>
              <a:t>Инвестиционные возможности в производстве энергии и развитии инфраструктуры</a:t>
            </a:r>
            <a:r>
              <a:rPr lang="en-US" b="1" dirty="0">
                <a:latin typeface="Arial"/>
                <a:cs typeface="Arial" pitchFamily="34" charset="0"/>
              </a:rPr>
              <a:t> </a:t>
            </a:r>
          </a:p>
        </p:txBody>
      </p:sp>
      <p:sp>
        <p:nvSpPr>
          <p:cNvPr id="21" name="Rectangle 20"/>
          <p:cNvSpPr/>
          <p:nvPr/>
        </p:nvSpPr>
        <p:spPr>
          <a:xfrm>
            <a:off x="3275856" y="1773238"/>
            <a:ext cx="5617319" cy="411058"/>
          </a:xfrm>
          <a:prstGeom prst="rect">
            <a:avLst/>
          </a:prstGeom>
          <a:solidFill>
            <a:srgbClr val="002960"/>
          </a:solidFill>
          <a:ln w="9525" cap="flat" cmpd="sng" algn="ctr">
            <a:solidFill>
              <a:srgbClr val="002960"/>
            </a:solidFill>
            <a:prstDash val="solid"/>
          </a:ln>
          <a:effectLst/>
          <a:extLst/>
        </p:spPr>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pPr lvl="0" algn="ctr" defTabSz="914400" fontAlgn="base">
              <a:lnSpc>
                <a:spcPct val="90000"/>
              </a:lnSpc>
              <a:spcBef>
                <a:spcPct val="0"/>
              </a:spcBef>
              <a:spcAft>
                <a:spcPct val="0"/>
              </a:spcAft>
              <a:defRPr/>
            </a:pPr>
            <a:r>
              <a:rPr lang="ru-RU" sz="1600" b="1" kern="0" dirty="0">
                <a:solidFill>
                  <a:srgbClr val="FFFFFF"/>
                </a:solidFill>
                <a:latin typeface="Arial"/>
                <a:cs typeface="Arial"/>
              </a:rPr>
              <a:t>Инвестиционные возможности</a:t>
            </a:r>
            <a:endParaRPr lang="en-US" sz="1600" b="1" kern="0" dirty="0">
              <a:solidFill>
                <a:srgbClr val="FFFFFF"/>
              </a:solidFill>
              <a:latin typeface="Arial"/>
              <a:cs typeface="Arial"/>
            </a:endParaRPr>
          </a:p>
        </p:txBody>
      </p:sp>
      <p:sp>
        <p:nvSpPr>
          <p:cNvPr id="22" name="Pentagon 21"/>
          <p:cNvSpPr/>
          <p:nvPr/>
        </p:nvSpPr>
        <p:spPr>
          <a:xfrm>
            <a:off x="250825" y="1772816"/>
            <a:ext cx="2900804" cy="411480"/>
          </a:xfrm>
          <a:prstGeom prst="homePlate">
            <a:avLst>
              <a:gd name="adj" fmla="val 19760"/>
            </a:avLst>
          </a:prstGeom>
          <a:solidFill>
            <a:srgbClr val="002960"/>
          </a:solidFill>
          <a:ln w="6350">
            <a:solidFill>
              <a:srgbClr val="002960"/>
            </a:solidFill>
            <a:miter lim="800000"/>
            <a:headEnd/>
            <a:tailEnd/>
          </a:ln>
        </p:spPr>
        <p:txBody>
          <a:bodyPr lIns="72000" tIns="72000" rIns="72000" bIns="72000" anchor="ctr"/>
          <a:lstStyle/>
          <a:p>
            <a:pPr lvl="0" algn="ctr" defTabSz="914400" eaLnBrk="0" hangingPunct="0">
              <a:lnSpc>
                <a:spcPct val="90000"/>
              </a:lnSpc>
              <a:spcBef>
                <a:spcPct val="0"/>
              </a:spcBef>
              <a:defRPr/>
            </a:pPr>
            <a:r>
              <a:rPr lang="ru-RU" sz="1600" b="1" kern="0" dirty="0">
                <a:solidFill>
                  <a:srgbClr val="FFFFFF"/>
                </a:solidFill>
                <a:latin typeface="Arial"/>
                <a:cs typeface="Arial" pitchFamily="34" charset="0"/>
              </a:rPr>
              <a:t>Обзор</a:t>
            </a:r>
            <a:endParaRPr kumimoji="0" lang="en-US" sz="1600" b="1" i="0" u="none" strike="noStrike" kern="0" cap="none" spc="0" normalizeH="0" baseline="0" noProof="0" dirty="0">
              <a:ln>
                <a:noFill/>
              </a:ln>
              <a:solidFill>
                <a:srgbClr val="FFFFFF"/>
              </a:solidFill>
              <a:effectLst/>
              <a:uLnTx/>
              <a:uFillTx/>
              <a:latin typeface="Arial"/>
              <a:cs typeface="Arial" pitchFamily="34" charset="0"/>
            </a:endParaRPr>
          </a:p>
        </p:txBody>
      </p:sp>
      <p:sp>
        <p:nvSpPr>
          <p:cNvPr id="23" name="Rectangle 8"/>
          <p:cNvSpPr>
            <a:spLocks noChangeArrowheads="1"/>
          </p:cNvSpPr>
          <p:nvPr/>
        </p:nvSpPr>
        <p:spPr bwMode="gray">
          <a:xfrm>
            <a:off x="250825" y="2184293"/>
            <a:ext cx="2819048" cy="4157783"/>
          </a:xfrm>
          <a:prstGeom prst="rect">
            <a:avLst/>
          </a:prstGeom>
          <a:noFill/>
          <a:ln w="6350">
            <a:solidFill>
              <a:srgbClr val="002960"/>
            </a:solidFill>
            <a:miter lim="800000"/>
            <a:headEnd/>
            <a:tailEnd/>
          </a:ln>
        </p:spPr>
        <p:txBody>
          <a:bodyPr wrap="square" lIns="91440" tIns="91440" rIns="0" bIns="0" anchorCtr="0">
            <a:noAutofit/>
          </a:bodyPr>
          <a:lstStyle/>
          <a:p>
            <a:pPr marL="171450" lvl="0" indent="-171450" defTabSz="966788" eaLnBrk="0" hangingPunct="0">
              <a:lnSpc>
                <a:spcPct val="90000"/>
              </a:lnSpc>
              <a:spcBef>
                <a:spcPts val="900"/>
              </a:spcBef>
              <a:buClr>
                <a:srgbClr val="FF6600"/>
              </a:buClr>
              <a:buSzPct val="100000"/>
              <a:buFont typeface="Arial" pitchFamily="34" charset="0"/>
              <a:buChar char="•"/>
            </a:pPr>
            <a:r>
              <a:rPr kumimoji="0" lang="ru-RU" sz="1300" b="0" i="0" u="none" strike="noStrike" kern="0" cap="none" spc="0" normalizeH="0" baseline="0" noProof="0" dirty="0">
                <a:ln>
                  <a:noFill/>
                </a:ln>
                <a:solidFill>
                  <a:sysClr val="windowText" lastClr="000000"/>
                </a:solidFill>
                <a:effectLst/>
                <a:uLnTx/>
                <a:uFillTx/>
                <a:latin typeface="Arial"/>
                <a:cs typeface="Arial" pitchFamily="34" charset="0"/>
              </a:rPr>
              <a:t>Руанда все более фокусируется на освоении энергоресурсов</a:t>
            </a:r>
            <a:r>
              <a:rPr lang="ru-RU" sz="1300" kern="0" dirty="0">
                <a:solidFill>
                  <a:sysClr val="windowText" lastClr="000000"/>
                </a:solidFill>
                <a:latin typeface="Arial"/>
                <a:cs typeface="Arial" pitchFamily="34" charset="0"/>
              </a:rPr>
              <a:t> энергии </a:t>
            </a:r>
            <a:r>
              <a:rPr kumimoji="0" lang="ru-RU" sz="1300" b="0" i="0" u="none" strike="noStrike" kern="0" cap="none" spc="0" normalizeH="0" baseline="0" noProof="0" dirty="0">
                <a:ln>
                  <a:noFill/>
                </a:ln>
                <a:solidFill>
                  <a:sysClr val="windowText" lastClr="000000"/>
                </a:solidFill>
                <a:effectLst/>
                <a:uLnTx/>
                <a:uFillTx/>
                <a:latin typeface="Arial"/>
                <a:cs typeface="Arial" pitchFamily="34" charset="0"/>
              </a:rPr>
              <a:t>внутри страны </a:t>
            </a:r>
            <a:r>
              <a:rPr kumimoji="0" lang="en-US" sz="1300" b="0" i="0" u="none" strike="noStrike" kern="0" cap="none" spc="0" normalizeH="0" baseline="0" noProof="0" dirty="0">
                <a:ln>
                  <a:noFill/>
                </a:ln>
                <a:solidFill>
                  <a:sysClr val="windowText" lastClr="000000"/>
                </a:solidFill>
                <a:effectLst/>
                <a:uLnTx/>
                <a:uFillTx/>
                <a:latin typeface="Arial"/>
                <a:cs typeface="Arial" pitchFamily="34" charset="0"/>
              </a:rPr>
              <a:t> </a:t>
            </a:r>
            <a:r>
              <a:rPr kumimoji="0" lang="ru-RU" sz="1300" b="0" i="0" u="none" strike="noStrike" kern="0" cap="none" spc="0" normalizeH="0" baseline="0" noProof="0" dirty="0">
                <a:ln>
                  <a:noFill/>
                </a:ln>
                <a:solidFill>
                  <a:sysClr val="windowText" lastClr="000000"/>
                </a:solidFill>
                <a:effectLst/>
                <a:uLnTx/>
                <a:uFillTx/>
                <a:latin typeface="Arial"/>
                <a:cs typeface="Arial" pitchFamily="34" charset="0"/>
              </a:rPr>
              <a:t>и постепенной замене </a:t>
            </a:r>
            <a:r>
              <a:rPr lang="ru-RU" sz="1300" kern="0" dirty="0">
                <a:solidFill>
                  <a:sysClr val="windowText" lastClr="000000"/>
                </a:solidFill>
                <a:latin typeface="Arial"/>
                <a:cs typeface="Arial" pitchFamily="34" charset="0"/>
              </a:rPr>
              <a:t>ископаемых энергоносителей на новые виды</a:t>
            </a:r>
            <a:endParaRPr kumimoji="0" lang="en-US" sz="1300" b="0" i="0" u="none" strike="noStrike" kern="0" cap="none" spc="0" normalizeH="0" baseline="0" noProof="0" dirty="0">
              <a:ln>
                <a:noFill/>
              </a:ln>
              <a:solidFill>
                <a:sysClr val="windowText" lastClr="000000"/>
              </a:solidFill>
              <a:effectLst/>
              <a:uLnTx/>
              <a:uFillTx/>
              <a:latin typeface="Arial"/>
              <a:cs typeface="Arial" pitchFamily="34" charset="0"/>
            </a:endParaRPr>
          </a:p>
          <a:p>
            <a:pPr marL="171450" lvl="0" indent="-171450" defTabSz="966788" eaLnBrk="0" hangingPunct="0">
              <a:lnSpc>
                <a:spcPct val="90000"/>
              </a:lnSpc>
              <a:spcBef>
                <a:spcPts val="900"/>
              </a:spcBef>
              <a:buClr>
                <a:srgbClr val="FF6600"/>
              </a:buClr>
              <a:buSzPct val="100000"/>
              <a:buFont typeface="Arial" pitchFamily="34" charset="0"/>
              <a:buChar char="•"/>
            </a:pPr>
            <a:r>
              <a:rPr lang="ru-RU" sz="1300" kern="0" dirty="0">
                <a:solidFill>
                  <a:sysClr val="windowText" lastClr="000000"/>
                </a:solidFill>
                <a:latin typeface="Arial"/>
                <a:cs typeface="Arial" pitchFamily="34" charset="0"/>
              </a:rPr>
              <a:t>Высокая энергетическая освещённость солнечного излучения</a:t>
            </a:r>
            <a:r>
              <a:rPr lang="en-US" sz="1300" kern="0" dirty="0">
                <a:solidFill>
                  <a:sysClr val="windowText" lastClr="000000"/>
                </a:solidFill>
                <a:latin typeface="Arial"/>
                <a:cs typeface="Arial" pitchFamily="34" charset="0"/>
              </a:rPr>
              <a:t>, </a:t>
            </a:r>
            <a:r>
              <a:rPr lang="ru-RU" sz="1300" kern="0" dirty="0">
                <a:solidFill>
                  <a:sysClr val="windowText" lastClr="000000"/>
                </a:solidFill>
                <a:latin typeface="Arial"/>
                <a:cs typeface="Arial" pitchFamily="34" charset="0"/>
              </a:rPr>
              <a:t>до </a:t>
            </a:r>
            <a:r>
              <a:rPr lang="en-US" sz="1300" kern="0" dirty="0">
                <a:solidFill>
                  <a:sysClr val="windowText" lastClr="000000"/>
                </a:solidFill>
                <a:latin typeface="Arial"/>
                <a:cs typeface="Arial" pitchFamily="34" charset="0"/>
              </a:rPr>
              <a:t>1890kWh/</a:t>
            </a:r>
            <a:r>
              <a:rPr lang="ru-RU" sz="1300" kern="0" dirty="0" err="1">
                <a:solidFill>
                  <a:sysClr val="windowText" lastClr="000000"/>
                </a:solidFill>
                <a:latin typeface="Arial"/>
                <a:cs typeface="Arial" pitchFamily="34" charset="0"/>
              </a:rPr>
              <a:t>кв.м</a:t>
            </a:r>
            <a:r>
              <a:rPr lang="ru-RU" sz="1300" kern="0" dirty="0">
                <a:solidFill>
                  <a:sysClr val="windowText" lastClr="000000"/>
                </a:solidFill>
                <a:latin typeface="Arial"/>
                <a:cs typeface="Arial" pitchFamily="34" charset="0"/>
              </a:rPr>
              <a:t> в восточных провинциях</a:t>
            </a:r>
            <a:r>
              <a:rPr lang="en-US" sz="1300" kern="0" dirty="0">
                <a:solidFill>
                  <a:sysClr val="windowText" lastClr="000000"/>
                </a:solidFill>
                <a:latin typeface="Arial"/>
                <a:cs typeface="Arial" pitchFamily="34" charset="0"/>
              </a:rPr>
              <a:t>.</a:t>
            </a:r>
          </a:p>
          <a:p>
            <a:pPr marL="171450" indent="-171450" defTabSz="966788" eaLnBrk="0" hangingPunct="0">
              <a:lnSpc>
                <a:spcPct val="90000"/>
              </a:lnSpc>
              <a:spcBef>
                <a:spcPts val="900"/>
              </a:spcBef>
              <a:buClr>
                <a:srgbClr val="FF6600"/>
              </a:buClr>
              <a:buSzPct val="100000"/>
              <a:buFont typeface="Arial" pitchFamily="34" charset="0"/>
              <a:buChar char="•"/>
            </a:pPr>
            <a:r>
              <a:rPr lang="ru-RU" sz="1300" kern="0" dirty="0">
                <a:solidFill>
                  <a:sysClr val="windowText" lastClr="000000"/>
                </a:solidFill>
                <a:latin typeface="Arial"/>
                <a:cs typeface="Arial" pitchFamily="34" charset="0"/>
              </a:rPr>
              <a:t>П</a:t>
            </a:r>
            <a:r>
              <a:rPr kumimoji="0" lang="ru-RU" sz="1300" i="0" u="none" strike="noStrike" kern="0" cap="none" spc="0" normalizeH="0" baseline="0" noProof="0" dirty="0" err="1">
                <a:ln>
                  <a:noFill/>
                </a:ln>
                <a:solidFill>
                  <a:sysClr val="windowText" lastClr="000000"/>
                </a:solidFill>
                <a:effectLst/>
                <a:uLnTx/>
                <a:uFillTx/>
                <a:latin typeface="Arial"/>
                <a:cs typeface="Arial" pitchFamily="34" charset="0"/>
              </a:rPr>
              <a:t>роизводство</a:t>
            </a:r>
            <a:r>
              <a:rPr kumimoji="0" lang="ru-RU" sz="1300" i="0" u="none" strike="noStrike" kern="0" cap="none" spc="0" normalizeH="0" baseline="0" noProof="0" dirty="0">
                <a:ln>
                  <a:noFill/>
                </a:ln>
                <a:solidFill>
                  <a:sysClr val="windowText" lastClr="000000"/>
                </a:solidFill>
                <a:effectLst/>
                <a:uLnTx/>
                <a:uFillTx/>
                <a:latin typeface="Arial"/>
                <a:cs typeface="Arial" pitchFamily="34" charset="0"/>
              </a:rPr>
              <a:t> </a:t>
            </a:r>
            <a:r>
              <a:rPr kumimoji="0" lang="ru-RU" sz="1300" i="0" u="none" strike="noStrike" kern="0" cap="none" spc="0" normalizeH="0" baseline="0" noProof="0" dirty="0" err="1">
                <a:ln>
                  <a:noFill/>
                </a:ln>
                <a:solidFill>
                  <a:sysClr val="windowText" lastClr="000000"/>
                </a:solidFill>
                <a:effectLst/>
                <a:uLnTx/>
                <a:uFillTx/>
                <a:latin typeface="Arial"/>
                <a:cs typeface="Arial" pitchFamily="34" charset="0"/>
              </a:rPr>
              <a:t>эл.энергии</a:t>
            </a:r>
            <a:r>
              <a:rPr lang="ru-RU" sz="1300" kern="0" dirty="0">
                <a:solidFill>
                  <a:sysClr val="windowText" lastClr="000000"/>
                </a:solidFill>
                <a:latin typeface="Arial"/>
                <a:cs typeface="Arial" pitchFamily="34" charset="0"/>
              </a:rPr>
              <a:t> общ. мощностью </a:t>
            </a:r>
            <a:r>
              <a:rPr kumimoji="0" lang="en-US" sz="1300" i="0" u="none" strike="noStrike" kern="0" cap="none" spc="0" normalizeH="0" baseline="0" noProof="0" dirty="0">
                <a:ln>
                  <a:noFill/>
                </a:ln>
                <a:solidFill>
                  <a:sysClr val="windowText" lastClr="000000"/>
                </a:solidFill>
                <a:effectLst/>
                <a:uLnTx/>
                <a:uFillTx/>
                <a:latin typeface="Arial"/>
                <a:cs typeface="Arial" pitchFamily="34" charset="0"/>
              </a:rPr>
              <a:t>208 MW. </a:t>
            </a:r>
          </a:p>
        </p:txBody>
      </p:sp>
      <p:sp>
        <p:nvSpPr>
          <p:cNvPr id="24" name="Pentagon 23"/>
          <p:cNvSpPr/>
          <p:nvPr/>
        </p:nvSpPr>
        <p:spPr>
          <a:xfrm>
            <a:off x="3275856" y="2275309"/>
            <a:ext cx="1776644" cy="1309775"/>
          </a:xfrm>
          <a:prstGeom prst="homePlate">
            <a:avLst>
              <a:gd name="adj" fmla="val 19760"/>
            </a:avLst>
          </a:prstGeom>
          <a:solidFill>
            <a:srgbClr val="0066CC"/>
          </a:solidFill>
          <a:ln w="6350">
            <a:noFill/>
            <a:miter lim="800000"/>
            <a:headEnd/>
            <a:tailEnd/>
          </a:ln>
        </p:spPr>
        <p:txBody>
          <a:bodyPr lIns="72000" tIns="72000" rIns="72000" bIns="72000" anchor="ctr"/>
          <a:lstStyle/>
          <a:p>
            <a:pPr lvl="0" defTabSz="914400" eaLnBrk="0" hangingPunct="0">
              <a:lnSpc>
                <a:spcPct val="90000"/>
              </a:lnSpc>
              <a:spcBef>
                <a:spcPct val="0"/>
              </a:spcBef>
              <a:defRPr/>
            </a:pPr>
            <a:r>
              <a:rPr lang="ru-RU" sz="1500" b="1" kern="0" dirty="0">
                <a:solidFill>
                  <a:srgbClr val="FFFFFF"/>
                </a:solidFill>
                <a:latin typeface="Arial"/>
                <a:cs typeface="Arial" pitchFamily="34" charset="0"/>
              </a:rPr>
              <a:t>Солнечная энергия </a:t>
            </a:r>
            <a:endParaRPr lang="en-US" sz="1500" b="1" kern="0" dirty="0">
              <a:solidFill>
                <a:srgbClr val="FFFFFF"/>
              </a:solidFill>
              <a:latin typeface="Arial"/>
              <a:cs typeface="Arial" pitchFamily="34" charset="0"/>
            </a:endParaRPr>
          </a:p>
        </p:txBody>
      </p:sp>
      <p:sp>
        <p:nvSpPr>
          <p:cNvPr id="25" name="Pentagon 24"/>
          <p:cNvSpPr/>
          <p:nvPr/>
        </p:nvSpPr>
        <p:spPr>
          <a:xfrm>
            <a:off x="3275856" y="3690873"/>
            <a:ext cx="1776644" cy="1224000"/>
          </a:xfrm>
          <a:prstGeom prst="homePlate">
            <a:avLst>
              <a:gd name="adj" fmla="val 19760"/>
            </a:avLst>
          </a:prstGeom>
          <a:solidFill>
            <a:srgbClr val="0066CC"/>
          </a:solidFill>
          <a:ln w="6350">
            <a:noFill/>
            <a:miter lim="800000"/>
            <a:headEnd/>
            <a:tailEnd/>
          </a:ln>
        </p:spPr>
        <p:txBody>
          <a:bodyPr wrap="none" lIns="72000" tIns="72000" rIns="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lang="ru-RU" sz="1500" b="1" kern="0" noProof="0" dirty="0">
                <a:solidFill>
                  <a:srgbClr val="FFFFFF"/>
                </a:solidFill>
                <a:latin typeface="Arial"/>
                <a:cs typeface="Arial" pitchFamily="34" charset="0"/>
              </a:rPr>
              <a:t>Кольцевая </a:t>
            </a:r>
          </a:p>
          <a:p>
            <a:pPr marL="0" marR="0" lvl="0" indent="0" defTabSz="914400" eaLnBrk="0" fontAlgn="auto" latinLnBrk="0" hangingPunct="0">
              <a:lnSpc>
                <a:spcPct val="90000"/>
              </a:lnSpc>
              <a:spcBef>
                <a:spcPct val="0"/>
              </a:spcBef>
              <a:spcAft>
                <a:spcPts val="0"/>
              </a:spcAft>
              <a:buClrTx/>
              <a:buSzTx/>
              <a:buFontTx/>
              <a:buNone/>
              <a:tabLst/>
              <a:defRPr/>
            </a:pPr>
            <a:r>
              <a:rPr lang="ru-RU" sz="1500" b="1" kern="0" noProof="0" dirty="0">
                <a:solidFill>
                  <a:srgbClr val="FFFFFF"/>
                </a:solidFill>
                <a:latin typeface="Arial"/>
                <a:cs typeface="Arial" pitchFamily="34" charset="0"/>
              </a:rPr>
              <a:t>дорога </a:t>
            </a:r>
          </a:p>
          <a:p>
            <a:pPr marL="0" marR="0" lvl="0" indent="0" defTabSz="914400" eaLnBrk="0" fontAlgn="auto" latinLnBrk="0" hangingPunct="0">
              <a:lnSpc>
                <a:spcPct val="90000"/>
              </a:lnSpc>
              <a:spcBef>
                <a:spcPct val="0"/>
              </a:spcBef>
              <a:spcAft>
                <a:spcPts val="0"/>
              </a:spcAft>
              <a:buClrTx/>
              <a:buSzTx/>
              <a:buFontTx/>
              <a:buNone/>
              <a:tabLst/>
              <a:defRPr/>
            </a:pPr>
            <a:r>
              <a:rPr lang="ru-RU" sz="1500" b="1" kern="0" noProof="0" dirty="0">
                <a:solidFill>
                  <a:srgbClr val="FFFFFF"/>
                </a:solidFill>
                <a:latin typeface="Arial"/>
                <a:cs typeface="Arial" pitchFamily="34" charset="0"/>
              </a:rPr>
              <a:t>в Кигали</a:t>
            </a:r>
            <a:endParaRPr lang="en-US" sz="1500" b="1" kern="0" noProof="0" dirty="0">
              <a:solidFill>
                <a:srgbClr val="FFFFFF"/>
              </a:solidFill>
              <a:latin typeface="Arial"/>
              <a:cs typeface="Arial" pitchFamily="34" charset="0"/>
            </a:endParaRPr>
          </a:p>
          <a:p>
            <a:pPr marL="0" marR="0" lvl="0" indent="0" defTabSz="914400" eaLnBrk="0" fontAlgn="auto" latinLnBrk="0" hangingPunct="0">
              <a:lnSpc>
                <a:spcPct val="90000"/>
              </a:lnSpc>
              <a:spcBef>
                <a:spcPct val="0"/>
              </a:spcBef>
              <a:spcAft>
                <a:spcPts val="0"/>
              </a:spcAft>
              <a:buClrTx/>
              <a:buSzTx/>
              <a:buFontTx/>
              <a:buNone/>
              <a:tabLst/>
              <a:defRPr/>
            </a:pPr>
            <a:r>
              <a:rPr kumimoji="0" lang="en-US" sz="1500" b="1" i="0" u="none" strike="noStrike" kern="0" cap="none" spc="0" normalizeH="0" baseline="0" dirty="0">
                <a:ln>
                  <a:noFill/>
                </a:ln>
                <a:solidFill>
                  <a:srgbClr val="FFFFFF"/>
                </a:solidFill>
                <a:effectLst/>
                <a:uLnTx/>
                <a:uFillTx/>
                <a:latin typeface="Arial"/>
                <a:cs typeface="Arial" pitchFamily="34" charset="0"/>
              </a:rPr>
              <a:t>($210</a:t>
            </a:r>
            <a:r>
              <a:rPr kumimoji="0" lang="ru-RU" sz="1500" b="1" i="0" u="none" strike="noStrike" kern="0" cap="none" spc="0" normalizeH="0" baseline="0" dirty="0">
                <a:ln>
                  <a:noFill/>
                </a:ln>
                <a:solidFill>
                  <a:srgbClr val="FFFFFF"/>
                </a:solidFill>
                <a:effectLst/>
                <a:uLnTx/>
                <a:uFillTx/>
                <a:latin typeface="Arial"/>
                <a:cs typeface="Arial" pitchFamily="34" charset="0"/>
              </a:rPr>
              <a:t>М</a:t>
            </a:r>
            <a:r>
              <a:rPr kumimoji="0" lang="en-US" sz="1500" b="1" i="0" u="none" strike="noStrike" kern="0" cap="none" spc="0" normalizeH="0" baseline="0" dirty="0">
                <a:ln>
                  <a:noFill/>
                </a:ln>
                <a:solidFill>
                  <a:srgbClr val="FFFFFF"/>
                </a:solidFill>
                <a:effectLst/>
                <a:uLnTx/>
                <a:uFillTx/>
                <a:latin typeface="Arial"/>
                <a:cs typeface="Arial" pitchFamily="34" charset="0"/>
              </a:rPr>
              <a:t>)</a:t>
            </a:r>
            <a:r>
              <a:rPr kumimoji="0" lang="en-US" sz="1500" b="1" i="0" u="none" strike="noStrike" kern="0" cap="none" spc="0" normalizeH="0" baseline="0" noProof="0" dirty="0">
                <a:ln>
                  <a:noFill/>
                </a:ln>
                <a:solidFill>
                  <a:srgbClr val="FFFFFF"/>
                </a:solidFill>
                <a:effectLst/>
                <a:uLnTx/>
                <a:uFillTx/>
                <a:latin typeface="Arial"/>
                <a:cs typeface="Arial" pitchFamily="34" charset="0"/>
              </a:rPr>
              <a:t> </a:t>
            </a:r>
          </a:p>
        </p:txBody>
      </p:sp>
      <p:sp>
        <p:nvSpPr>
          <p:cNvPr id="26" name="Pentagon 25"/>
          <p:cNvSpPr/>
          <p:nvPr/>
        </p:nvSpPr>
        <p:spPr>
          <a:xfrm>
            <a:off x="3275856" y="5020493"/>
            <a:ext cx="1776644" cy="1224000"/>
          </a:xfrm>
          <a:prstGeom prst="homePlate">
            <a:avLst>
              <a:gd name="adj" fmla="val 19760"/>
            </a:avLst>
          </a:prstGeom>
          <a:solidFill>
            <a:srgbClr val="0066CC"/>
          </a:solidFill>
          <a:ln w="6350">
            <a:noFill/>
            <a:miter lim="800000"/>
            <a:headEnd/>
            <a:tailEnd/>
          </a:ln>
        </p:spPr>
        <p:txBody>
          <a:bodyPr lIns="72000" tIns="72000" rIns="7200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kumimoji="0" lang="ru-RU" sz="1500" b="1" i="0" u="none" strike="noStrike" kern="0" cap="none" spc="0" normalizeH="0" baseline="0" noProof="0" dirty="0">
                <a:ln>
                  <a:noFill/>
                </a:ln>
                <a:solidFill>
                  <a:srgbClr val="FFFFFF"/>
                </a:solidFill>
                <a:effectLst/>
                <a:uLnTx/>
                <a:uFillTx/>
                <a:latin typeface="Arial"/>
                <a:cs typeface="Arial" pitchFamily="34" charset="0"/>
              </a:rPr>
              <a:t>Вода</a:t>
            </a:r>
            <a:endParaRPr kumimoji="0" lang="en-US" sz="1500" b="1" i="0" u="none" strike="noStrike" kern="0" cap="none" spc="0" normalizeH="0" baseline="0" noProof="0" dirty="0">
              <a:ln>
                <a:noFill/>
              </a:ln>
              <a:solidFill>
                <a:srgbClr val="FFFFFF"/>
              </a:solidFill>
              <a:effectLst/>
              <a:uLnTx/>
              <a:uFillTx/>
              <a:latin typeface="Arial"/>
              <a:cs typeface="Arial" pitchFamily="34" charset="0"/>
            </a:endParaRPr>
          </a:p>
        </p:txBody>
      </p:sp>
      <p:cxnSp>
        <p:nvCxnSpPr>
          <p:cNvPr id="30" name="Straight Connector 29"/>
          <p:cNvCxnSpPr/>
          <p:nvPr/>
        </p:nvCxnSpPr>
        <p:spPr>
          <a:xfrm>
            <a:off x="0" y="1027326"/>
            <a:ext cx="9144000"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0" y="6450384"/>
            <a:ext cx="7706983"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sp>
        <p:nvSpPr>
          <p:cNvPr id="27" name="object 20"/>
          <p:cNvSpPr/>
          <p:nvPr/>
        </p:nvSpPr>
        <p:spPr>
          <a:xfrm>
            <a:off x="369240" y="4780575"/>
            <a:ext cx="2663973" cy="1587084"/>
          </a:xfrm>
          <a:prstGeom prst="rect">
            <a:avLst/>
          </a:prstGeom>
          <a:blipFill>
            <a:blip r:embed="rId4"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1245067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noGrp="1"/>
          </p:cNvSpPr>
          <p:nvPr>
            <p:ph type="title"/>
          </p:nvPr>
        </p:nvSpPr>
        <p:spPr>
          <a:xfrm>
            <a:off x="190500" y="198136"/>
            <a:ext cx="8763001" cy="514484"/>
          </a:xfrm>
          <a:prstGeom prst="rect">
            <a:avLst/>
          </a:prstGeom>
          <a:solidFill>
            <a:schemeClr val="accent1">
              <a:lumMod val="40000"/>
              <a:lumOff val="60000"/>
            </a:schemeClr>
          </a:solidFill>
        </p:spPr>
        <p:txBody>
          <a:bodyPr vert="horz" lIns="68598" tIns="34299" rIns="68598" bIns="34299" rtlCol="0" anchor="ctr" anchorCtr="0">
            <a:normAutofit/>
          </a:bodyPr>
          <a:lstStyle>
            <a:lvl1pPr algn="l" defTabSz="914400" rtl="0" eaLnBrk="1" latinLnBrk="0" hangingPunct="1">
              <a:lnSpc>
                <a:spcPct val="90000"/>
              </a:lnSpc>
              <a:spcBef>
                <a:spcPct val="0"/>
              </a:spcBef>
              <a:buNone/>
              <a:defRPr sz="2600" b="1" kern="1200">
                <a:solidFill>
                  <a:schemeClr val="tx1"/>
                </a:solidFill>
                <a:latin typeface="Arial" pitchFamily="34" charset="0"/>
                <a:ea typeface="+mj-ea"/>
                <a:cs typeface="Arial" pitchFamily="34" charset="0"/>
              </a:defRPr>
            </a:lvl1pPr>
          </a:lstStyle>
          <a:p>
            <a:pPr algn="ctr"/>
            <a:r>
              <a:rPr lang="ru-RU" sz="2400" dirty="0">
                <a:solidFill>
                  <a:schemeClr val="tx2"/>
                </a:solidFill>
              </a:rPr>
              <a:t>Как начать бизнес в Руанде </a:t>
            </a:r>
            <a:endParaRPr lang="en-US" sz="2400" dirty="0">
              <a:solidFill>
                <a:schemeClr val="tx2"/>
              </a:solidFill>
            </a:endParaRPr>
          </a:p>
        </p:txBody>
      </p:sp>
      <p:sp>
        <p:nvSpPr>
          <p:cNvPr id="6" name="Content Placeholder 6"/>
          <p:cNvSpPr>
            <a:spLocks noGrp="1"/>
          </p:cNvSpPr>
          <p:nvPr>
            <p:ph sz="quarter" idx="4294967295"/>
          </p:nvPr>
        </p:nvSpPr>
        <p:spPr>
          <a:xfrm>
            <a:off x="4821424" y="1213335"/>
            <a:ext cx="4043175" cy="63396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indent="0" algn="ctr">
              <a:buNone/>
            </a:pPr>
            <a:r>
              <a:rPr lang="ru-RU" sz="1800" b="1" dirty="0"/>
              <a:t>Какую помощь можно получить в УРР</a:t>
            </a:r>
            <a:endParaRPr lang="en-US" sz="1800" b="1" dirty="0"/>
          </a:p>
        </p:txBody>
      </p:sp>
      <p:sp>
        <p:nvSpPr>
          <p:cNvPr id="7" name="TextBox 6"/>
          <p:cNvSpPr txBox="1"/>
          <p:nvPr/>
        </p:nvSpPr>
        <p:spPr>
          <a:xfrm>
            <a:off x="4724400" y="1881656"/>
            <a:ext cx="4140200" cy="4408899"/>
          </a:xfrm>
          <a:prstGeom prst="rect">
            <a:avLst/>
          </a:prstGeom>
          <a:noFill/>
        </p:spPr>
        <p:txBody>
          <a:bodyPr wrap="square" rtlCol="0">
            <a:spAutoFit/>
          </a:bodyPr>
          <a:lstStyle/>
          <a:p>
            <a:pPr marL="214370" indent="-214370" algn="just" defTabSz="342991">
              <a:buFont typeface="Wingdings" panose="05000000000000000000" pitchFamily="2" charset="2"/>
              <a:buChar char="§"/>
            </a:pPr>
            <a:r>
              <a:rPr lang="ru-RU" sz="1650" dirty="0">
                <a:solidFill>
                  <a:prstClr val="black"/>
                </a:solidFill>
                <a:latin typeface="Avenir Medium"/>
                <a:cs typeface="Avenir Medium"/>
              </a:rPr>
              <a:t>Получите помощь и ответы на все вопросы в едином центре </a:t>
            </a:r>
            <a:endParaRPr lang="en-US" sz="1650" dirty="0">
              <a:solidFill>
                <a:prstClr val="black"/>
              </a:solidFill>
              <a:latin typeface="Avenir Medium"/>
              <a:cs typeface="Avenir Medium"/>
            </a:endParaRPr>
          </a:p>
          <a:p>
            <a:pPr marL="214370" indent="-214370" algn="just" defTabSz="342991">
              <a:buFont typeface="Wingdings" panose="05000000000000000000" pitchFamily="2" charset="2"/>
              <a:buChar char="§"/>
            </a:pPr>
            <a:r>
              <a:rPr lang="ru-RU" sz="1650" dirty="0">
                <a:solidFill>
                  <a:prstClr val="black"/>
                </a:solidFill>
                <a:latin typeface="Avenir Medium"/>
                <a:cs typeface="Avenir Medium"/>
              </a:rPr>
              <a:t>Получение лицензий</a:t>
            </a:r>
            <a:r>
              <a:rPr lang="en-US" sz="1650" dirty="0">
                <a:solidFill>
                  <a:prstClr val="black"/>
                </a:solidFill>
                <a:latin typeface="Avenir Medium"/>
                <a:cs typeface="Avenir Medium"/>
              </a:rPr>
              <a:t>, </a:t>
            </a:r>
            <a:r>
              <a:rPr lang="ru-RU" sz="1650" dirty="0">
                <a:solidFill>
                  <a:prstClr val="black"/>
                </a:solidFill>
                <a:latin typeface="Avenir Medium"/>
                <a:cs typeface="Avenir Medium"/>
              </a:rPr>
              <a:t>разрешений и сертификатов</a:t>
            </a:r>
            <a:endParaRPr lang="en-US" sz="1650" dirty="0">
              <a:solidFill>
                <a:prstClr val="black"/>
              </a:solidFill>
              <a:latin typeface="Avenir Medium"/>
              <a:cs typeface="Avenir Medium"/>
            </a:endParaRPr>
          </a:p>
          <a:p>
            <a:pPr marL="214370" indent="-214370" algn="just" defTabSz="342991">
              <a:buFont typeface="Wingdings" panose="05000000000000000000" pitchFamily="2" charset="2"/>
              <a:buChar char="§"/>
            </a:pPr>
            <a:r>
              <a:rPr lang="ru-RU" sz="1650" dirty="0">
                <a:solidFill>
                  <a:prstClr val="black"/>
                </a:solidFill>
                <a:latin typeface="Avenir Medium"/>
                <a:cs typeface="Avenir Medium"/>
              </a:rPr>
              <a:t>Информационный центр для инвесторов</a:t>
            </a:r>
            <a:endParaRPr lang="en-US" sz="1650" dirty="0">
              <a:solidFill>
                <a:prstClr val="black"/>
              </a:solidFill>
              <a:latin typeface="Avenir Medium"/>
              <a:cs typeface="Avenir Medium"/>
            </a:endParaRPr>
          </a:p>
          <a:p>
            <a:pPr marL="214370" indent="-214370" algn="just" defTabSz="342991">
              <a:buFont typeface="Wingdings" panose="05000000000000000000" pitchFamily="2" charset="2"/>
              <a:buChar char="§"/>
            </a:pPr>
            <a:r>
              <a:rPr lang="ru-RU" sz="1650" dirty="0">
                <a:solidFill>
                  <a:prstClr val="black"/>
                </a:solidFill>
                <a:latin typeface="Avenir Medium"/>
                <a:cs typeface="Avenir Medium"/>
              </a:rPr>
              <a:t>Единая контактный центр для получения информации по законодательству, политике, льготам, инвестиционным возможностям</a:t>
            </a:r>
            <a:r>
              <a:rPr lang="en-US" sz="1650" dirty="0">
                <a:solidFill>
                  <a:prstClr val="black"/>
                </a:solidFill>
                <a:latin typeface="Avenir Medium"/>
                <a:cs typeface="Avenir Medium"/>
              </a:rPr>
              <a:t>, </a:t>
            </a:r>
            <a:r>
              <a:rPr lang="ru-RU" sz="1650" dirty="0">
                <a:solidFill>
                  <a:prstClr val="black"/>
                </a:solidFill>
                <a:latin typeface="Avenir Medium"/>
                <a:cs typeface="Avenir Medium"/>
              </a:rPr>
              <a:t>земельным участкам и отдельным секторам</a:t>
            </a:r>
            <a:r>
              <a:rPr lang="en-US" sz="1650" dirty="0">
                <a:solidFill>
                  <a:prstClr val="black"/>
                </a:solidFill>
                <a:latin typeface="Avenir Medium"/>
                <a:cs typeface="Avenir Medium"/>
              </a:rPr>
              <a:t>.</a:t>
            </a:r>
          </a:p>
          <a:p>
            <a:pPr marL="214370" indent="-214370" algn="just" defTabSz="342991">
              <a:buFont typeface="Wingdings" panose="05000000000000000000" pitchFamily="2" charset="2"/>
              <a:buChar char="§"/>
            </a:pPr>
            <a:r>
              <a:rPr lang="ru-RU" sz="1650" dirty="0">
                <a:solidFill>
                  <a:prstClr val="black"/>
                </a:solidFill>
                <a:latin typeface="Avenir Medium"/>
                <a:cs typeface="Avenir Medium"/>
              </a:rPr>
              <a:t>Помощь в поиске локальных партнеров для создания СП </a:t>
            </a:r>
            <a:r>
              <a:rPr lang="en-US" sz="1650" dirty="0">
                <a:solidFill>
                  <a:prstClr val="black"/>
                </a:solidFill>
                <a:latin typeface="Avenir Medium"/>
                <a:cs typeface="Avenir Medium"/>
              </a:rPr>
              <a:t>&amp; </a:t>
            </a:r>
            <a:r>
              <a:rPr lang="ru-RU" sz="1650" dirty="0" err="1">
                <a:solidFill>
                  <a:prstClr val="black"/>
                </a:solidFill>
                <a:latin typeface="Avenir Medium"/>
                <a:cs typeface="Avenir Medium"/>
              </a:rPr>
              <a:t>частно</a:t>
            </a:r>
            <a:r>
              <a:rPr lang="ru-RU" sz="1650" dirty="0">
                <a:solidFill>
                  <a:prstClr val="black"/>
                </a:solidFill>
                <a:latin typeface="Avenir Medium"/>
                <a:cs typeface="Avenir Medium"/>
              </a:rPr>
              <a:t>-государственных объединений. </a:t>
            </a:r>
            <a:endParaRPr lang="en-US" sz="1650" dirty="0">
              <a:solidFill>
                <a:prstClr val="black"/>
              </a:solidFill>
              <a:latin typeface="Avenir Medium"/>
              <a:cs typeface="Avenir Medium"/>
            </a:endParaRPr>
          </a:p>
          <a:p>
            <a:pPr marL="214370" indent="-214370" algn="just" defTabSz="342991">
              <a:buFont typeface="Wingdings" panose="05000000000000000000" pitchFamily="2" charset="2"/>
              <a:buChar char="§"/>
            </a:pPr>
            <a:r>
              <a:rPr lang="ru-RU" sz="1650" dirty="0">
                <a:solidFill>
                  <a:prstClr val="black"/>
                </a:solidFill>
                <a:latin typeface="Avenir Medium"/>
                <a:cs typeface="Avenir Medium"/>
              </a:rPr>
              <a:t>Постпроектное обслуживание</a:t>
            </a:r>
            <a:r>
              <a:rPr lang="en-US" sz="1650" dirty="0">
                <a:solidFill>
                  <a:prstClr val="black"/>
                </a:solidFill>
                <a:latin typeface="Avenir Medium"/>
                <a:cs typeface="Avenir Medium"/>
              </a:rPr>
              <a:t>. </a:t>
            </a:r>
          </a:p>
          <a:p>
            <a:pPr marL="214370" indent="-214370" algn="just" defTabSz="342991">
              <a:buFont typeface="Wingdings" panose="05000000000000000000" pitchFamily="2" charset="2"/>
              <a:buChar char="§"/>
            </a:pPr>
            <a:endParaRPr lang="en-US" sz="1650" dirty="0">
              <a:solidFill>
                <a:prstClr val="black"/>
              </a:solidFill>
              <a:latin typeface="Avenir Medium"/>
              <a:cs typeface="Avenir Medium"/>
            </a:endParaRP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501" y="5549899"/>
            <a:ext cx="3302000" cy="1236039"/>
          </a:xfrm>
          <a:prstGeom prst="rect">
            <a:avLst/>
          </a:prstGeom>
        </p:spPr>
      </p:pic>
      <p:sp>
        <p:nvSpPr>
          <p:cNvPr id="8" name="Content Placeholder 6"/>
          <p:cNvSpPr>
            <a:spLocks noGrp="1"/>
          </p:cNvSpPr>
          <p:nvPr>
            <p:ph sz="quarter" idx="4294967295"/>
          </p:nvPr>
        </p:nvSpPr>
        <p:spPr>
          <a:xfrm>
            <a:off x="484850" y="1207470"/>
            <a:ext cx="3933966" cy="639831"/>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indent="0" algn="ctr">
              <a:buNone/>
            </a:pPr>
            <a:r>
              <a:rPr lang="ru-RU" sz="1800" b="1" dirty="0"/>
              <a:t>Функции Управления развития Руанды</a:t>
            </a:r>
            <a:r>
              <a:rPr lang="en-US" sz="1800" b="1" dirty="0"/>
              <a:t> </a:t>
            </a:r>
          </a:p>
        </p:txBody>
      </p:sp>
      <p:sp>
        <p:nvSpPr>
          <p:cNvPr id="10" name="TextBox 9"/>
          <p:cNvSpPr txBox="1"/>
          <p:nvPr/>
        </p:nvSpPr>
        <p:spPr>
          <a:xfrm>
            <a:off x="292101" y="1904739"/>
            <a:ext cx="4286724" cy="4131900"/>
          </a:xfrm>
          <a:prstGeom prst="rect">
            <a:avLst/>
          </a:prstGeom>
          <a:noFill/>
        </p:spPr>
        <p:txBody>
          <a:bodyPr wrap="square" rtlCol="0">
            <a:spAutoFit/>
          </a:bodyPr>
          <a:lstStyle/>
          <a:p>
            <a:pPr marL="214370" lvl="1" indent="-214370" algn="just" defTabSz="342991">
              <a:spcBef>
                <a:spcPts val="600"/>
              </a:spcBef>
              <a:buClr>
                <a:schemeClr val="tx1"/>
              </a:buClr>
              <a:buSzPct val="76000"/>
              <a:buFont typeface="Wingdings" panose="05000000000000000000" pitchFamily="2" charset="2"/>
              <a:buChar char="§"/>
              <a:defRPr/>
            </a:pPr>
            <a:r>
              <a:rPr lang="ru-RU" sz="1650" dirty="0">
                <a:solidFill>
                  <a:prstClr val="black"/>
                </a:solidFill>
                <a:latin typeface="Avenir Medium"/>
                <a:cs typeface="Avenir Medium"/>
              </a:rPr>
              <a:t>Привлечение и помощь инвесторам </a:t>
            </a:r>
            <a:r>
              <a:rPr lang="en-GB" sz="1650" b="1" dirty="0">
                <a:solidFill>
                  <a:prstClr val="black"/>
                </a:solidFill>
                <a:latin typeface="Avenir Medium"/>
                <a:cs typeface="Avenir Medium"/>
              </a:rPr>
              <a:t> </a:t>
            </a:r>
            <a:r>
              <a:rPr lang="en-GB" sz="1650" dirty="0">
                <a:solidFill>
                  <a:prstClr val="black"/>
                </a:solidFill>
                <a:latin typeface="Avenir Medium"/>
                <a:cs typeface="Avenir Medium"/>
              </a:rPr>
              <a:t>(</a:t>
            </a:r>
            <a:r>
              <a:rPr lang="ru-RU" sz="1650" dirty="0">
                <a:solidFill>
                  <a:prstClr val="black"/>
                </a:solidFill>
                <a:latin typeface="Avenir Medium"/>
                <a:cs typeface="Avenir Medium"/>
              </a:rPr>
              <a:t>иностр.инвестиции и внутренние</a:t>
            </a:r>
            <a:r>
              <a:rPr lang="en-GB" sz="1650" dirty="0">
                <a:solidFill>
                  <a:prstClr val="black"/>
                </a:solidFill>
                <a:latin typeface="Avenir Medium"/>
                <a:cs typeface="Avenir Medium"/>
              </a:rPr>
              <a:t>)</a:t>
            </a:r>
          </a:p>
          <a:p>
            <a:pPr marL="214370" lvl="1" indent="-214370" algn="just" defTabSz="342991">
              <a:spcBef>
                <a:spcPts val="600"/>
              </a:spcBef>
              <a:buClr>
                <a:schemeClr val="tx1"/>
              </a:buClr>
              <a:buSzPct val="76000"/>
              <a:buFont typeface="Wingdings" panose="05000000000000000000" pitchFamily="2" charset="2"/>
              <a:buChar char="§"/>
              <a:defRPr/>
            </a:pPr>
            <a:r>
              <a:rPr lang="ru-RU" sz="1650" dirty="0">
                <a:solidFill>
                  <a:prstClr val="black"/>
                </a:solidFill>
                <a:latin typeface="Avenir Medium"/>
                <a:cs typeface="Avenir Medium"/>
              </a:rPr>
              <a:t>Помощь развитию экспорта </a:t>
            </a:r>
            <a:r>
              <a:rPr lang="en-GB" sz="1650" dirty="0">
                <a:solidFill>
                  <a:prstClr val="black"/>
                </a:solidFill>
                <a:latin typeface="Avenir Medium"/>
                <a:cs typeface="Avenir Medium"/>
              </a:rPr>
              <a:t>(</a:t>
            </a:r>
            <a:r>
              <a:rPr lang="ru-RU" sz="1650" dirty="0">
                <a:solidFill>
                  <a:prstClr val="black"/>
                </a:solidFill>
                <a:latin typeface="Avenir Medium"/>
                <a:cs typeface="Avenir Medium"/>
              </a:rPr>
              <a:t>товары</a:t>
            </a:r>
            <a:r>
              <a:rPr lang="en-GB" sz="1650" dirty="0">
                <a:solidFill>
                  <a:prstClr val="black"/>
                </a:solidFill>
                <a:latin typeface="Avenir Medium"/>
                <a:cs typeface="Avenir Medium"/>
              </a:rPr>
              <a:t>, </a:t>
            </a:r>
            <a:r>
              <a:rPr lang="ru-RU" sz="1650" dirty="0">
                <a:solidFill>
                  <a:prstClr val="black"/>
                </a:solidFill>
                <a:latin typeface="Avenir Medium"/>
                <a:cs typeface="Avenir Medium"/>
              </a:rPr>
              <a:t>услуги, рынки</a:t>
            </a:r>
            <a:r>
              <a:rPr lang="en-GB" sz="1650" dirty="0">
                <a:solidFill>
                  <a:prstClr val="black"/>
                </a:solidFill>
                <a:latin typeface="Avenir Medium"/>
                <a:cs typeface="Avenir Medium"/>
              </a:rPr>
              <a:t>) </a:t>
            </a:r>
          </a:p>
          <a:p>
            <a:pPr marL="214370" lvl="1" indent="-214370" algn="just" defTabSz="342991">
              <a:spcBef>
                <a:spcPts val="600"/>
              </a:spcBef>
              <a:buClr>
                <a:schemeClr val="tx1"/>
              </a:buClr>
              <a:buSzPct val="76000"/>
              <a:buFont typeface="Wingdings" panose="05000000000000000000" pitchFamily="2" charset="2"/>
              <a:buChar char="§"/>
              <a:defRPr/>
            </a:pPr>
            <a:r>
              <a:rPr lang="ru-RU" sz="1650" b="1" dirty="0">
                <a:solidFill>
                  <a:prstClr val="black"/>
                </a:solidFill>
                <a:latin typeface="Avenir Medium"/>
                <a:cs typeface="Avenir Medium"/>
              </a:rPr>
              <a:t>Развитие туризма</a:t>
            </a:r>
            <a:r>
              <a:rPr lang="en-GB" sz="1650" b="1" dirty="0">
                <a:solidFill>
                  <a:prstClr val="black"/>
                </a:solidFill>
                <a:latin typeface="Avenir Medium"/>
                <a:cs typeface="Avenir Medium"/>
              </a:rPr>
              <a:t>, </a:t>
            </a:r>
            <a:r>
              <a:rPr lang="ru-RU" sz="1650" dirty="0">
                <a:solidFill>
                  <a:prstClr val="black"/>
                </a:solidFill>
                <a:latin typeface="Avenir Medium"/>
                <a:cs typeface="Avenir Medium"/>
              </a:rPr>
              <a:t>диверсификация </a:t>
            </a:r>
            <a:r>
              <a:rPr lang="en-GB" sz="1650" dirty="0">
                <a:solidFill>
                  <a:prstClr val="black"/>
                </a:solidFill>
                <a:latin typeface="Avenir Medium"/>
                <a:cs typeface="Avenir Medium"/>
              </a:rPr>
              <a:t>&amp; </a:t>
            </a:r>
            <a:r>
              <a:rPr lang="ru-RU" sz="1650" dirty="0">
                <a:solidFill>
                  <a:prstClr val="black"/>
                </a:solidFill>
                <a:latin typeface="Avenir Medium"/>
                <a:cs typeface="Avenir Medium"/>
              </a:rPr>
              <a:t>сохранность ресурсов, увеличение числа туристов и спектра предлагаемых услуг</a:t>
            </a:r>
            <a:endParaRPr lang="en-GB" sz="1650" dirty="0">
              <a:solidFill>
                <a:prstClr val="black"/>
              </a:solidFill>
              <a:latin typeface="Avenir Medium"/>
              <a:cs typeface="Avenir Medium"/>
            </a:endParaRPr>
          </a:p>
          <a:p>
            <a:pPr marL="214370" lvl="1" indent="-214370" defTabSz="342991">
              <a:spcBef>
                <a:spcPts val="600"/>
              </a:spcBef>
              <a:buClr>
                <a:schemeClr val="tx1"/>
              </a:buClr>
              <a:buSzPct val="76000"/>
              <a:buFont typeface="Wingdings" panose="05000000000000000000" pitchFamily="2" charset="2"/>
              <a:buChar char="§"/>
              <a:defRPr/>
            </a:pPr>
            <a:r>
              <a:rPr lang="ru-RU" sz="1650" b="1" dirty="0">
                <a:solidFill>
                  <a:prstClr val="black"/>
                </a:solidFill>
                <a:latin typeface="Avenir Medium"/>
                <a:cs typeface="Avenir Medium"/>
              </a:rPr>
              <a:t>Помощь в прохождении требуемых процедур </a:t>
            </a:r>
            <a:r>
              <a:rPr lang="en-GB" sz="1650" dirty="0">
                <a:solidFill>
                  <a:prstClr val="black"/>
                </a:solidFill>
                <a:latin typeface="Avenir Medium"/>
                <a:cs typeface="Avenir Medium"/>
              </a:rPr>
              <a:t>(</a:t>
            </a:r>
            <a:r>
              <a:rPr lang="ru-RU" sz="1650" dirty="0">
                <a:solidFill>
                  <a:prstClr val="black"/>
                </a:solidFill>
                <a:latin typeface="Avenir Medium"/>
                <a:cs typeface="Avenir Medium"/>
              </a:rPr>
              <a:t>регистрация компании, оформление частно-государственного партнерства</a:t>
            </a:r>
            <a:r>
              <a:rPr lang="en-GB" sz="1650" dirty="0">
                <a:solidFill>
                  <a:prstClr val="black"/>
                </a:solidFill>
                <a:latin typeface="Avenir Medium"/>
                <a:cs typeface="Avenir Medium"/>
              </a:rPr>
              <a:t>; </a:t>
            </a:r>
            <a:r>
              <a:rPr lang="ru-RU" sz="1650" dirty="0">
                <a:solidFill>
                  <a:prstClr val="black"/>
                </a:solidFill>
                <a:latin typeface="Avenir Medium"/>
                <a:cs typeface="Avenir Medium"/>
              </a:rPr>
              <a:t>приватизация</a:t>
            </a:r>
            <a:r>
              <a:rPr lang="en-GB" sz="1650" dirty="0">
                <a:solidFill>
                  <a:prstClr val="black"/>
                </a:solidFill>
                <a:latin typeface="Avenir Medium"/>
                <a:cs typeface="Avenir Medium"/>
              </a:rPr>
              <a:t>; IP, </a:t>
            </a:r>
            <a:r>
              <a:rPr lang="ru-RU" sz="1650" dirty="0">
                <a:solidFill>
                  <a:prstClr val="black"/>
                </a:solidFill>
                <a:latin typeface="Avenir Medium"/>
                <a:cs typeface="Avenir Medium"/>
              </a:rPr>
              <a:t>бизнес-реформы</a:t>
            </a:r>
            <a:r>
              <a:rPr lang="en-GB" sz="1650" dirty="0">
                <a:solidFill>
                  <a:prstClr val="black"/>
                </a:solidFill>
                <a:latin typeface="Avenir Medium"/>
                <a:cs typeface="Avenir Medium"/>
              </a:rPr>
              <a:t>)</a:t>
            </a:r>
          </a:p>
          <a:p>
            <a:pPr algn="just" defTabSz="342991"/>
            <a:r>
              <a:rPr lang="en-US" sz="1650" dirty="0">
                <a:solidFill>
                  <a:prstClr val="black"/>
                </a:solidFill>
                <a:latin typeface="Avenir Medium"/>
                <a:cs typeface="Avenir Medium"/>
              </a:rPr>
              <a:t>. </a:t>
            </a:r>
          </a:p>
          <a:p>
            <a:pPr marL="214370" indent="-214370" algn="just" defTabSz="342991">
              <a:buFont typeface="Wingdings" panose="05000000000000000000" pitchFamily="2" charset="2"/>
              <a:buChar char="§"/>
            </a:pPr>
            <a:endParaRPr lang="en-US" sz="1650" dirty="0">
              <a:solidFill>
                <a:prstClr val="black"/>
              </a:solidFill>
              <a:latin typeface="Avenir Medium"/>
              <a:cs typeface="Avenir Medium"/>
            </a:endParaRPr>
          </a:p>
        </p:txBody>
      </p:sp>
    </p:spTree>
    <p:extLst>
      <p:ext uri="{BB962C8B-B14F-4D97-AF65-F5344CB8AC3E}">
        <p14:creationId xmlns:p14="http://schemas.microsoft.com/office/powerpoint/2010/main" val="13818434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4294967295"/>
          </p:nvPr>
        </p:nvSpPr>
        <p:spPr/>
        <p:txBody>
          <a:bodyPr/>
          <a:lstStyle/>
          <a:p>
            <a:endParaRPr lang="en-US"/>
          </a:p>
        </p:txBody>
      </p:sp>
      <p:sp>
        <p:nvSpPr>
          <p:cNvPr id="3" name="Title 2"/>
          <p:cNvSpPr>
            <a:spLocks noGrp="1"/>
          </p:cNvSpPr>
          <p:nvPr>
            <p:ph type="title"/>
          </p:nvPr>
        </p:nvSpPr>
        <p:spPr/>
        <p:txBody>
          <a:bodyPr/>
          <a:lstStyle/>
          <a:p>
            <a:endParaRPr lang="en-US"/>
          </a:p>
        </p:txBody>
      </p:sp>
      <p:sp>
        <p:nvSpPr>
          <p:cNvPr id="4" name="Text Placeholder 3"/>
          <p:cNvSpPr>
            <a:spLocks noGrp="1"/>
          </p:cNvSpPr>
          <p:nvPr>
            <p:ph type="body" sz="quarter" idx="11"/>
          </p:nvPr>
        </p:nvSpPr>
        <p:spPr/>
        <p:txBody>
          <a:bodyPr/>
          <a:lstStyle/>
          <a:p>
            <a:endParaRPr lang="en-US"/>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57175"/>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txBox="1">
            <a:spLocks/>
          </p:cNvSpPr>
          <p:nvPr/>
        </p:nvSpPr>
        <p:spPr>
          <a:xfrm>
            <a:off x="1257300" y="1122573"/>
            <a:ext cx="6412069" cy="3506890"/>
          </a:xfrm>
          <a:prstGeom prst="rect">
            <a:avLst/>
          </a:prstGeom>
        </p:spPr>
        <p:txBody>
          <a:bodyPr vert="horz" lIns="68598" tIns="34299" rIns="68598" bIns="34299" rtlCol="0" anchor="b" anchorCtr="0">
            <a:noAutofit/>
          </a:bodyPr>
          <a:lstStyle>
            <a:lvl1pPr algn="l" defTabSz="914400" rtl="0" eaLnBrk="1" latinLnBrk="0" hangingPunct="1">
              <a:lnSpc>
                <a:spcPct val="90000"/>
              </a:lnSpc>
              <a:spcBef>
                <a:spcPct val="0"/>
              </a:spcBef>
              <a:buNone/>
              <a:defRPr sz="2600" b="1" kern="1200">
                <a:solidFill>
                  <a:schemeClr val="tx1"/>
                </a:solidFill>
                <a:latin typeface="Arial" pitchFamily="34" charset="0"/>
                <a:ea typeface="+mj-ea"/>
                <a:cs typeface="Arial" pitchFamily="34" charset="0"/>
              </a:defRPr>
            </a:lvl1pPr>
          </a:lstStyle>
          <a:p>
            <a:pPr algn="ctr"/>
            <a:endParaRPr lang="en-US" sz="2701" dirty="0">
              <a:ln w="18000">
                <a:solidFill>
                  <a:schemeClr val="tx1"/>
                </a:solidFill>
                <a:prstDash val="solid"/>
                <a:miter lim="800000"/>
              </a:ln>
              <a:solidFill>
                <a:srgbClr val="FFFF00"/>
              </a:solidFill>
              <a:effectLst>
                <a:outerShdw blurRad="38100" dist="38100" dir="2700000" algn="tl">
                  <a:srgbClr val="000000">
                    <a:alpha val="43137"/>
                  </a:srgbClr>
                </a:outerShdw>
              </a:effectLst>
            </a:endParaRPr>
          </a:p>
          <a:p>
            <a:pPr algn="ctr"/>
            <a:endParaRPr lang="en-US" sz="2701" dirty="0">
              <a:ln w="18000">
                <a:solidFill>
                  <a:schemeClr val="tx1"/>
                </a:solidFill>
                <a:prstDash val="solid"/>
                <a:miter lim="800000"/>
              </a:ln>
              <a:solidFill>
                <a:srgbClr val="FFFF00"/>
              </a:solidFill>
              <a:effectLst>
                <a:outerShdw blurRad="38100" dist="38100" dir="2700000" algn="tl">
                  <a:srgbClr val="000000">
                    <a:alpha val="43137"/>
                  </a:srgbClr>
                </a:outerShdw>
              </a:effectLst>
            </a:endParaRPr>
          </a:p>
          <a:p>
            <a:pPr algn="ctr"/>
            <a:endParaRPr lang="en-US" sz="2701" dirty="0">
              <a:ln w="18000">
                <a:solidFill>
                  <a:schemeClr val="tx1"/>
                </a:solidFill>
                <a:prstDash val="solid"/>
                <a:miter lim="800000"/>
              </a:ln>
              <a:solidFill>
                <a:srgbClr val="FFFF00"/>
              </a:solidFill>
              <a:effectLst>
                <a:outerShdw blurRad="38100" dist="38100" dir="2700000" algn="tl">
                  <a:srgbClr val="000000">
                    <a:alpha val="43137"/>
                  </a:srgbClr>
                </a:outerShdw>
              </a:effectLst>
            </a:endParaRPr>
          </a:p>
          <a:p>
            <a:pPr algn="ctr"/>
            <a:r>
              <a:rPr lang="en-US" sz="2701" dirty="0">
                <a:ln w="18000">
                  <a:solidFill>
                    <a:schemeClr val="tx1"/>
                  </a:solidFill>
                  <a:prstDash val="solid"/>
                  <a:miter lim="800000"/>
                </a:ln>
                <a:solidFill>
                  <a:srgbClr val="FFFF00"/>
                </a:solidFill>
                <a:effectLst>
                  <a:outerShdw blurRad="38100" dist="38100" dir="2700000" algn="tl">
                    <a:srgbClr val="000000">
                      <a:alpha val="43137"/>
                    </a:srgbClr>
                  </a:outerShdw>
                </a:effectLst>
              </a:rPr>
              <a:t>INVEST IN REMARKABLE RWANDA</a:t>
            </a:r>
          </a:p>
          <a:p>
            <a:pPr algn="ctr"/>
            <a:endParaRPr lang="en-US" sz="2701" dirty="0">
              <a:ln w="18000">
                <a:solidFill>
                  <a:schemeClr val="tx1"/>
                </a:solidFill>
                <a:prstDash val="solid"/>
                <a:miter lim="800000"/>
              </a:ln>
              <a:solidFill>
                <a:srgbClr val="FFFF00"/>
              </a:solidFill>
              <a:effectLst>
                <a:outerShdw blurRad="38100" dist="38100" dir="2700000" algn="tl">
                  <a:srgbClr val="000000">
                    <a:alpha val="43137"/>
                  </a:srgbClr>
                </a:outerShdw>
              </a:effectLst>
            </a:endParaRPr>
          </a:p>
          <a:p>
            <a:pPr algn="ctr"/>
            <a:endParaRPr lang="en-US" sz="2701" dirty="0">
              <a:ln w="18000">
                <a:solidFill>
                  <a:schemeClr val="tx1"/>
                </a:solidFill>
                <a:prstDash val="solid"/>
                <a:miter lim="800000"/>
              </a:ln>
              <a:solidFill>
                <a:srgbClr val="FFFF00"/>
              </a:solidFill>
              <a:effectLst>
                <a:outerShdw blurRad="38100" dist="38100" dir="2700000" algn="tl">
                  <a:srgbClr val="000000">
                    <a:alpha val="43137"/>
                  </a:srgbClr>
                </a:outerShdw>
              </a:effectLst>
            </a:endParaRPr>
          </a:p>
          <a:p>
            <a:pPr algn="ctr"/>
            <a:r>
              <a:rPr lang="ru-RU" sz="2701" dirty="0">
                <a:ln w="18000">
                  <a:solidFill>
                    <a:schemeClr val="tx1"/>
                  </a:solidFill>
                  <a:prstDash val="solid"/>
                  <a:miter lim="800000"/>
                </a:ln>
                <a:solidFill>
                  <a:srgbClr val="FFFF00"/>
                </a:solidFill>
                <a:effectLst>
                  <a:outerShdw blurRad="38100" dist="38100" dir="2700000" algn="tl">
                    <a:srgbClr val="000000">
                      <a:alpha val="43137"/>
                    </a:srgbClr>
                  </a:outerShdw>
                </a:effectLst>
              </a:rPr>
              <a:t>ИНВЕСТИРУЙТЕ В ЗАМЕЧАТЕЛЬНОЙ  РУАНДЕ</a:t>
            </a:r>
            <a:r>
              <a:rPr lang="en-US" sz="2701" dirty="0">
                <a:ln w="18000">
                  <a:solidFill>
                    <a:schemeClr val="tx1"/>
                  </a:solidFill>
                  <a:prstDash val="solid"/>
                  <a:miter lim="800000"/>
                </a:ln>
                <a:solidFill>
                  <a:srgbClr val="FFFF00"/>
                </a:solidFill>
                <a:effectLst>
                  <a:outerShdw blurRad="38100" dist="38100" dir="2700000" algn="tl">
                    <a:srgbClr val="000000">
                      <a:alpha val="43137"/>
                    </a:srgbClr>
                  </a:outerShdw>
                </a:effectLst>
              </a:rPr>
              <a:t> </a:t>
            </a:r>
            <a:endParaRPr lang="ru-RU" sz="2701" dirty="0">
              <a:ln w="18000">
                <a:solidFill>
                  <a:schemeClr val="tx1"/>
                </a:solidFill>
                <a:prstDash val="solid"/>
                <a:miter lim="800000"/>
              </a:ln>
              <a:solidFill>
                <a:srgbClr val="FFFF00"/>
              </a:solidFill>
              <a:effectLst>
                <a:outerShdw blurRad="38100" dist="38100" dir="2700000" algn="tl">
                  <a:srgbClr val="000000">
                    <a:alpha val="43137"/>
                  </a:srgbClr>
                </a:outerShdw>
              </a:effectLst>
            </a:endParaRPr>
          </a:p>
          <a:p>
            <a:pPr algn="ctr"/>
            <a:endParaRPr lang="en-US" sz="2701" dirty="0">
              <a:ln w="18000">
                <a:solidFill>
                  <a:schemeClr val="tx1"/>
                </a:solidFill>
                <a:prstDash val="solid"/>
                <a:miter lim="800000"/>
              </a:ln>
              <a:solidFill>
                <a:srgbClr val="FFFF00"/>
              </a:solidFill>
              <a:effectLst>
                <a:outerShdw blurRad="38100" dist="38100" dir="2700000" algn="tl">
                  <a:srgbClr val="000000">
                    <a:alpha val="43137"/>
                  </a:srgbClr>
                </a:outerShdw>
              </a:effectLst>
            </a:endParaRPr>
          </a:p>
          <a:p>
            <a:pPr algn="ctr"/>
            <a:r>
              <a:rPr lang="ru-RU" sz="2701" dirty="0">
                <a:ln w="18000">
                  <a:solidFill>
                    <a:schemeClr val="tx1"/>
                  </a:solidFill>
                  <a:prstDash val="solid"/>
                  <a:miter lim="800000"/>
                </a:ln>
                <a:solidFill>
                  <a:srgbClr val="FFFF00"/>
                </a:solidFill>
                <a:effectLst>
                  <a:outerShdw blurRad="38100" dist="38100" dir="2700000" algn="tl">
                    <a:srgbClr val="000000">
                      <a:alpha val="43137"/>
                    </a:srgbClr>
                  </a:outerShdw>
                </a:effectLst>
              </a:rPr>
              <a:t>С НАМИ</a:t>
            </a:r>
            <a:r>
              <a:rPr lang="en-US" sz="2701" dirty="0">
                <a:ln w="18000">
                  <a:solidFill>
                    <a:schemeClr val="tx1"/>
                  </a:solidFill>
                  <a:prstDash val="solid"/>
                  <a:miter lim="800000"/>
                </a:ln>
                <a:solidFill>
                  <a:srgbClr val="FFFF00"/>
                </a:solidFill>
                <a:effectLst>
                  <a:outerShdw blurRad="38100" dist="38100" dir="2700000" algn="tl">
                    <a:srgbClr val="000000">
                      <a:alpha val="43137"/>
                    </a:srgbClr>
                  </a:outerShdw>
                </a:effectLst>
              </a:rPr>
              <a:t>,</a:t>
            </a:r>
            <a:r>
              <a:rPr lang="ru-RU" sz="2701" dirty="0">
                <a:ln w="18000">
                  <a:solidFill>
                    <a:schemeClr val="tx1"/>
                  </a:solidFill>
                  <a:prstDash val="solid"/>
                  <a:miter lim="800000"/>
                </a:ln>
                <a:solidFill>
                  <a:srgbClr val="FFFF00"/>
                </a:solidFill>
                <a:effectLst>
                  <a:outerShdw blurRad="38100" dist="38100" dir="2700000" algn="tl">
                    <a:srgbClr val="000000">
                      <a:alpha val="43137"/>
                    </a:srgbClr>
                  </a:outerShdw>
                </a:effectLst>
              </a:rPr>
              <a:t>  НАДЁЖНО!</a:t>
            </a:r>
            <a:br>
              <a:rPr lang="en-US" sz="4951" dirty="0">
                <a:ln w="18000">
                  <a:solidFill>
                    <a:schemeClr val="tx1"/>
                  </a:solidFill>
                  <a:prstDash val="solid"/>
                  <a:miter lim="800000"/>
                </a:ln>
                <a:solidFill>
                  <a:srgbClr val="FFFF00"/>
                </a:solidFill>
                <a:effectLst>
                  <a:outerShdw blurRad="38100" dist="38100" dir="2700000" algn="tl">
                    <a:srgbClr val="000000">
                      <a:alpha val="43137"/>
                    </a:srgbClr>
                  </a:outerShdw>
                </a:effectLst>
              </a:rPr>
            </a:br>
            <a:endParaRPr lang="en-US" sz="4951" dirty="0">
              <a:ln w="18000">
                <a:solidFill>
                  <a:schemeClr val="bg2"/>
                </a:solidFill>
                <a:prstDash val="solid"/>
                <a:miter lim="800000"/>
              </a:ln>
              <a:solidFill>
                <a:srgbClr val="FFFF00"/>
              </a:solidFill>
              <a:effectLst>
                <a:outerShdw blurRad="25500" dist="23000" dir="7020000" algn="tl">
                  <a:srgbClr val="000000">
                    <a:alpha val="50000"/>
                  </a:srgbClr>
                </a:outerShdw>
              </a:effectLst>
            </a:endParaRPr>
          </a:p>
        </p:txBody>
      </p:sp>
    </p:spTree>
    <p:extLst>
      <p:ext uri="{BB962C8B-B14F-4D97-AF65-F5344CB8AC3E}">
        <p14:creationId xmlns:p14="http://schemas.microsoft.com/office/powerpoint/2010/main" val="11811711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8601" y="260648"/>
            <a:ext cx="8328170" cy="796104"/>
          </a:xfrm>
        </p:spPr>
        <p:txBody>
          <a:bodyPr>
            <a:normAutofit/>
          </a:bodyPr>
          <a:lstStyle/>
          <a:p>
            <a:r>
              <a:rPr lang="ru-RU" sz="2800" dirty="0">
                <a:solidFill>
                  <a:srgbClr val="002960"/>
                </a:solidFill>
                <a:sym typeface="Arial"/>
              </a:rPr>
              <a:t>Стратегия развития Руанды</a:t>
            </a:r>
            <a:endParaRPr lang="en-GB" sz="2800" dirty="0">
              <a:solidFill>
                <a:srgbClr val="002960"/>
              </a:solidFill>
              <a:sym typeface="Arial"/>
            </a:endParaRPr>
          </a:p>
        </p:txBody>
      </p:sp>
      <p:graphicFrame>
        <p:nvGraphicFramePr>
          <p:cNvPr id="5" name="Diagram 4"/>
          <p:cNvGraphicFramePr/>
          <p:nvPr>
            <p:extLst>
              <p:ext uri="{D42A27DB-BD31-4B8C-83A1-F6EECF244321}">
                <p14:modId xmlns:p14="http://schemas.microsoft.com/office/powerpoint/2010/main" val="4017796406"/>
              </p:ext>
            </p:extLst>
          </p:nvPr>
        </p:nvGraphicFramePr>
        <p:xfrm>
          <a:off x="2235200" y="1204687"/>
          <a:ext cx="6799743" cy="52541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Left Arrow Callout 5"/>
          <p:cNvSpPr/>
          <p:nvPr/>
        </p:nvSpPr>
        <p:spPr>
          <a:xfrm flipH="1">
            <a:off x="228601" y="2351314"/>
            <a:ext cx="2065921" cy="2475298"/>
          </a:xfrm>
          <a:prstGeom prst="leftArrowCallou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ru-RU" dirty="0"/>
              <a:t>Развитие приоритет-</a:t>
            </a:r>
            <a:r>
              <a:rPr lang="ru-RU" dirty="0" err="1"/>
              <a:t>ных</a:t>
            </a:r>
            <a:r>
              <a:rPr lang="ru-RU" dirty="0"/>
              <a:t> областей  </a:t>
            </a:r>
            <a:endParaRPr lang="en-US" dirty="0"/>
          </a:p>
        </p:txBody>
      </p:sp>
    </p:spTree>
    <p:extLst>
      <p:ext uri="{BB962C8B-B14F-4D97-AF65-F5344CB8AC3E}">
        <p14:creationId xmlns:p14="http://schemas.microsoft.com/office/powerpoint/2010/main" val="3185610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a:off x="1676400" y="2514600"/>
            <a:ext cx="7239000" cy="990600"/>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23" name="Rounded Rectangle 22"/>
          <p:cNvSpPr/>
          <p:nvPr/>
        </p:nvSpPr>
        <p:spPr>
          <a:xfrm>
            <a:off x="1676400" y="3657600"/>
            <a:ext cx="7239000" cy="828675"/>
          </a:xfrm>
          <a:prstGeom prst="roundRect">
            <a:avLst>
              <a:gd name="adj" fmla="val 11930"/>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25" name="Rounded Rectangle 24"/>
          <p:cNvSpPr/>
          <p:nvPr/>
        </p:nvSpPr>
        <p:spPr>
          <a:xfrm>
            <a:off x="1676400" y="4648200"/>
            <a:ext cx="7239000" cy="1752600"/>
          </a:xfrm>
          <a:prstGeom prst="roundRect">
            <a:avLst>
              <a:gd name="adj" fmla="val 5482"/>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22" name="Rounded Rectangle 21"/>
          <p:cNvSpPr/>
          <p:nvPr/>
        </p:nvSpPr>
        <p:spPr>
          <a:xfrm>
            <a:off x="1676400" y="1828800"/>
            <a:ext cx="7239000" cy="533400"/>
          </a:xfrm>
          <a:prstGeom prst="roundRect">
            <a:avLst>
              <a:gd name="adj" fmla="val 17387"/>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21" name="Rounded Rectangle 20"/>
          <p:cNvSpPr/>
          <p:nvPr/>
        </p:nvSpPr>
        <p:spPr>
          <a:xfrm>
            <a:off x="1676400" y="1143000"/>
            <a:ext cx="7239000" cy="533400"/>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199" name="Content Placeholder 1"/>
          <p:cNvSpPr>
            <a:spLocks noGrp="1"/>
          </p:cNvSpPr>
          <p:nvPr>
            <p:ph sz="quarter" idx="4294967295"/>
          </p:nvPr>
        </p:nvSpPr>
        <p:spPr>
          <a:xfrm>
            <a:off x="1676400" y="1803400"/>
            <a:ext cx="7239000" cy="635000"/>
          </a:xfrm>
        </p:spPr>
        <p:txBody>
          <a:bodyPr>
            <a:noAutofit/>
          </a:bodyPr>
          <a:lstStyle/>
          <a:p>
            <a:pPr>
              <a:lnSpc>
                <a:spcPct val="90000"/>
              </a:lnSpc>
            </a:pPr>
            <a:r>
              <a:rPr lang="ru-RU" altLang="en-US" sz="1050" dirty="0"/>
              <a:t>Четкая стратегия роста, поддерживающая частные инвестиции, инициирована П. </a:t>
            </a:r>
            <a:r>
              <a:rPr lang="ru-RU" altLang="en-US" sz="1050" dirty="0" err="1"/>
              <a:t>Кагаме</a:t>
            </a:r>
            <a:r>
              <a:rPr lang="ru-RU" altLang="en-US" sz="1050" dirty="0"/>
              <a:t> </a:t>
            </a:r>
            <a:r>
              <a:rPr lang="en-GB" altLang="en-US" sz="1050" dirty="0"/>
              <a:t>(</a:t>
            </a:r>
            <a:r>
              <a:rPr lang="ru-RU" altLang="en-US" sz="1050" dirty="0"/>
              <a:t>Стратегия</a:t>
            </a:r>
            <a:r>
              <a:rPr lang="en-GB" altLang="en-US" sz="1050" dirty="0"/>
              <a:t> 2020) </a:t>
            </a:r>
          </a:p>
          <a:p>
            <a:r>
              <a:rPr lang="ru-RU" altLang="en-US" sz="1050" dirty="0"/>
              <a:t>Политическая стабильность, эффективно функционирующие госведомства</a:t>
            </a:r>
            <a:r>
              <a:rPr lang="en-GB" altLang="en-US" sz="1050" dirty="0"/>
              <a:t>, </a:t>
            </a:r>
            <a:r>
              <a:rPr lang="ru-RU" altLang="en-US" sz="1050" dirty="0"/>
              <a:t>примат закона, бескомпромиссность по отношению к коррупции</a:t>
            </a:r>
            <a:endParaRPr lang="en-GB" altLang="en-US" sz="1050" dirty="0"/>
          </a:p>
        </p:txBody>
      </p:sp>
      <p:sp>
        <p:nvSpPr>
          <p:cNvPr id="8201" name="Title 3"/>
          <p:cNvSpPr>
            <a:spLocks noGrp="1"/>
          </p:cNvSpPr>
          <p:nvPr>
            <p:ph type="title"/>
          </p:nvPr>
        </p:nvSpPr>
        <p:spPr bwMode="auto">
          <a:xfrm>
            <a:off x="604006" y="190501"/>
            <a:ext cx="8235194" cy="55612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compatLnSpc="1">
            <a:prstTxWarp prst="textNoShape">
              <a:avLst/>
            </a:prstTxWarp>
            <a:noAutofit/>
          </a:bodyPr>
          <a:lstStyle/>
          <a:p>
            <a:r>
              <a:rPr lang="en-GB" altLang="en-US" sz="2000" dirty="0"/>
              <a:t>5 </a:t>
            </a:r>
            <a:r>
              <a:rPr lang="ru-RU" altLang="en-US" sz="2000" dirty="0"/>
              <a:t>причин для инвестирования в бизнес в Руанде</a:t>
            </a:r>
            <a:endParaRPr lang="en-GB" altLang="en-US" sz="2000" dirty="0"/>
          </a:p>
        </p:txBody>
      </p:sp>
      <p:sp>
        <p:nvSpPr>
          <p:cNvPr id="5" name="Text Placeholder 4"/>
          <p:cNvSpPr>
            <a:spLocks noGrp="1"/>
          </p:cNvSpPr>
          <p:nvPr>
            <p:ph type="body" sz="quarter" idx="11"/>
          </p:nvPr>
        </p:nvSpPr>
        <p:spPr/>
        <p:txBody>
          <a:bodyPr/>
          <a:lstStyle/>
          <a:p>
            <a:pPr>
              <a:defRPr/>
            </a:pPr>
            <a:r>
              <a:rPr lang="en-GB" sz="1000" dirty="0" err="1"/>
              <a:t>Source:RDB</a:t>
            </a:r>
            <a:endParaRPr lang="en-GB" sz="1000" dirty="0"/>
          </a:p>
        </p:txBody>
      </p:sp>
      <p:sp>
        <p:nvSpPr>
          <p:cNvPr id="7" name="Rectangle 6"/>
          <p:cNvSpPr/>
          <p:nvPr/>
        </p:nvSpPr>
        <p:spPr>
          <a:xfrm>
            <a:off x="152399" y="1803400"/>
            <a:ext cx="1382785" cy="558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300" b="1" dirty="0">
                <a:latin typeface="Arial" pitchFamily="34" charset="0"/>
                <a:cs typeface="Arial" pitchFamily="34" charset="0"/>
              </a:rPr>
              <a:t>Эффективное управление </a:t>
            </a:r>
            <a:endParaRPr lang="en-GB" sz="1300" b="1" dirty="0">
              <a:latin typeface="Arial" pitchFamily="34" charset="0"/>
              <a:cs typeface="Arial" pitchFamily="34" charset="0"/>
            </a:endParaRPr>
          </a:p>
        </p:txBody>
      </p:sp>
      <p:sp>
        <p:nvSpPr>
          <p:cNvPr id="8204" name="Content Placeholder 1"/>
          <p:cNvSpPr>
            <a:spLocks noGrp="1"/>
          </p:cNvSpPr>
          <p:nvPr>
            <p:ph sz="quarter" idx="4294967295"/>
          </p:nvPr>
        </p:nvSpPr>
        <p:spPr>
          <a:xfrm>
            <a:off x="1676400" y="1153886"/>
            <a:ext cx="7162800" cy="599413"/>
          </a:xfrm>
        </p:spPr>
        <p:txBody>
          <a:bodyPr>
            <a:normAutofit lnSpcReduction="10000"/>
          </a:bodyPr>
          <a:lstStyle/>
          <a:p>
            <a:r>
              <a:rPr lang="ru-RU" altLang="en-US" sz="1050" dirty="0"/>
              <a:t>Средний темп роста ВВП в </a:t>
            </a:r>
            <a:r>
              <a:rPr lang="en-US" altLang="en-US" sz="1050" dirty="0"/>
              <a:t>2000-2016</a:t>
            </a:r>
            <a:r>
              <a:rPr lang="ru-RU" altLang="en-US" sz="1050" dirty="0"/>
              <a:t> – </a:t>
            </a:r>
            <a:r>
              <a:rPr lang="en-US" altLang="en-US" sz="1050" dirty="0"/>
              <a:t>8% </a:t>
            </a:r>
            <a:r>
              <a:rPr lang="en-GB" altLang="en-US" sz="1050" dirty="0"/>
              <a:t>, </a:t>
            </a:r>
            <a:r>
              <a:rPr lang="ru-RU" altLang="en-US" sz="1050" dirty="0"/>
              <a:t>низкий и стабильный темп инфляции, стабильный курс обмена валют </a:t>
            </a:r>
            <a:endParaRPr lang="en-GB" altLang="en-US" sz="1050" dirty="0"/>
          </a:p>
          <a:p>
            <a:r>
              <a:rPr lang="ru-RU" altLang="en-US" sz="1050" dirty="0"/>
              <a:t>Самый высокий темп роста ВВП в </a:t>
            </a:r>
            <a:r>
              <a:rPr lang="ru-RU" altLang="en-US" sz="1050" dirty="0" err="1"/>
              <a:t>теч</a:t>
            </a:r>
            <a:r>
              <a:rPr lang="ru-RU" altLang="en-US" sz="1050" dirty="0"/>
              <a:t>. последних 3-х лет среди всех африканских стран с наиболее развитой экономикой и близлежащих стран</a:t>
            </a:r>
            <a:endParaRPr lang="en-GB" altLang="en-US" sz="1050" dirty="0"/>
          </a:p>
        </p:txBody>
      </p:sp>
      <p:sp>
        <p:nvSpPr>
          <p:cNvPr id="10" name="Rectangle 9"/>
          <p:cNvSpPr/>
          <p:nvPr/>
        </p:nvSpPr>
        <p:spPr>
          <a:xfrm>
            <a:off x="152400" y="1142999"/>
            <a:ext cx="1382784" cy="6102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300" b="1" dirty="0">
                <a:latin typeface="Arial" pitchFamily="34" charset="0"/>
                <a:cs typeface="Arial" pitchFamily="34" charset="0"/>
              </a:rPr>
              <a:t>Постоянное стабильное развитие </a:t>
            </a:r>
            <a:endParaRPr lang="en-GB" sz="1300" b="1" dirty="0">
              <a:latin typeface="Arial" pitchFamily="34" charset="0"/>
              <a:cs typeface="Arial" pitchFamily="34" charset="0"/>
            </a:endParaRPr>
          </a:p>
        </p:txBody>
      </p:sp>
      <p:sp>
        <p:nvSpPr>
          <p:cNvPr id="8206" name="Content Placeholder 1"/>
          <p:cNvSpPr>
            <a:spLocks noGrp="1"/>
          </p:cNvSpPr>
          <p:nvPr>
            <p:ph sz="quarter" idx="4294967295"/>
          </p:nvPr>
        </p:nvSpPr>
        <p:spPr>
          <a:xfrm>
            <a:off x="1676400" y="4648200"/>
            <a:ext cx="7162800" cy="1676400"/>
          </a:xfrm>
        </p:spPr>
        <p:txBody>
          <a:bodyPr>
            <a:normAutofit fontScale="92500" lnSpcReduction="10000"/>
          </a:bodyPr>
          <a:lstStyle/>
          <a:p>
            <a:r>
              <a:rPr lang="ru-RU" altLang="en-US" sz="1200" dirty="0"/>
              <a:t>Широкие инвестиционные возможности, особенно в следующих секторах</a:t>
            </a:r>
            <a:r>
              <a:rPr lang="en-GB" altLang="en-US" sz="1200" dirty="0"/>
              <a:t>:</a:t>
            </a:r>
          </a:p>
          <a:p>
            <a:pPr lvl="1"/>
            <a:r>
              <a:rPr lang="ru-RU" altLang="en-US" sz="1200" dirty="0">
                <a:solidFill>
                  <a:srgbClr val="000000"/>
                </a:solidFill>
              </a:rPr>
              <a:t>Производство</a:t>
            </a:r>
            <a:r>
              <a:rPr lang="en-GB" altLang="en-US" sz="1200" dirty="0">
                <a:solidFill>
                  <a:srgbClr val="000000"/>
                </a:solidFill>
              </a:rPr>
              <a:t>: </a:t>
            </a:r>
            <a:r>
              <a:rPr lang="ru-RU" altLang="en-US" sz="1200" dirty="0">
                <a:solidFill>
                  <a:srgbClr val="000000"/>
                </a:solidFill>
              </a:rPr>
              <a:t>Строительные материалы</a:t>
            </a:r>
            <a:r>
              <a:rPr lang="en-GB" altLang="en-US" sz="1200" dirty="0">
                <a:solidFill>
                  <a:srgbClr val="000000"/>
                </a:solidFill>
              </a:rPr>
              <a:t>, </a:t>
            </a:r>
            <a:r>
              <a:rPr lang="ru-RU" altLang="en-US" sz="1200" dirty="0">
                <a:solidFill>
                  <a:srgbClr val="000000"/>
                </a:solidFill>
              </a:rPr>
              <a:t>легкая промышленность </a:t>
            </a:r>
            <a:endParaRPr lang="en-GB" altLang="en-US" sz="1200" dirty="0">
              <a:solidFill>
                <a:srgbClr val="000000"/>
              </a:solidFill>
            </a:endParaRPr>
          </a:p>
          <a:p>
            <a:pPr lvl="1"/>
            <a:r>
              <a:rPr lang="ru-RU" altLang="en-US" sz="1200" dirty="0">
                <a:solidFill>
                  <a:srgbClr val="000000"/>
                </a:solidFill>
              </a:rPr>
              <a:t>СХ</a:t>
            </a:r>
            <a:r>
              <a:rPr lang="en-GB" altLang="en-US" sz="1200" dirty="0">
                <a:solidFill>
                  <a:srgbClr val="000000"/>
                </a:solidFill>
              </a:rPr>
              <a:t>: </a:t>
            </a:r>
            <a:r>
              <a:rPr lang="ru-RU" altLang="en-US" sz="1200" dirty="0">
                <a:solidFill>
                  <a:srgbClr val="000000"/>
                </a:solidFill>
              </a:rPr>
              <a:t>Важнейшая часть руандийской экономики</a:t>
            </a:r>
            <a:r>
              <a:rPr lang="en-GB" altLang="en-US" sz="1200" dirty="0">
                <a:solidFill>
                  <a:srgbClr val="000000"/>
                </a:solidFill>
              </a:rPr>
              <a:t>, </a:t>
            </a:r>
            <a:r>
              <a:rPr lang="ru-RU" altLang="en-US" sz="1200" dirty="0">
                <a:solidFill>
                  <a:srgbClr val="000000"/>
                </a:solidFill>
              </a:rPr>
              <a:t>инвестиции в повышение урожайности и производительности, создание добавочной стоимости</a:t>
            </a:r>
            <a:endParaRPr lang="en-GB" altLang="en-US" sz="1200" dirty="0">
              <a:solidFill>
                <a:srgbClr val="000000"/>
              </a:solidFill>
            </a:endParaRPr>
          </a:p>
          <a:p>
            <a:pPr lvl="1"/>
            <a:r>
              <a:rPr lang="ru-RU" altLang="en-US" sz="1200" dirty="0">
                <a:solidFill>
                  <a:srgbClr val="000000"/>
                </a:solidFill>
              </a:rPr>
              <a:t>Туризм</a:t>
            </a:r>
            <a:r>
              <a:rPr lang="en-GB" altLang="en-US" sz="1200" dirty="0">
                <a:solidFill>
                  <a:srgbClr val="000000"/>
                </a:solidFill>
              </a:rPr>
              <a:t>: </a:t>
            </a:r>
            <a:r>
              <a:rPr lang="ru-RU" altLang="en-US" sz="1200" dirty="0">
                <a:solidFill>
                  <a:srgbClr val="000000"/>
                </a:solidFill>
              </a:rPr>
              <a:t>Уникальные возможности бурно развивающегося сектора</a:t>
            </a:r>
            <a:r>
              <a:rPr lang="en-GB" altLang="en-US" sz="1200" dirty="0">
                <a:solidFill>
                  <a:srgbClr val="000000"/>
                </a:solidFill>
              </a:rPr>
              <a:t>; </a:t>
            </a:r>
            <a:r>
              <a:rPr lang="ru-RU" altLang="en-US" sz="1200" dirty="0">
                <a:solidFill>
                  <a:srgbClr val="000000"/>
                </a:solidFill>
              </a:rPr>
              <a:t>одно из направлений – проведение МН конференций</a:t>
            </a:r>
            <a:endParaRPr lang="en-GB" altLang="en-US" sz="1200" dirty="0">
              <a:solidFill>
                <a:srgbClr val="000000"/>
              </a:solidFill>
            </a:endParaRPr>
          </a:p>
          <a:p>
            <a:pPr lvl="1"/>
            <a:r>
              <a:rPr lang="ru-RU" altLang="en-US" sz="1200" dirty="0">
                <a:solidFill>
                  <a:srgbClr val="000000"/>
                </a:solidFill>
              </a:rPr>
              <a:t>ИКТ</a:t>
            </a:r>
            <a:r>
              <a:rPr lang="en-GB" altLang="en-US" sz="1200" dirty="0">
                <a:solidFill>
                  <a:srgbClr val="000000"/>
                </a:solidFill>
              </a:rPr>
              <a:t>: </a:t>
            </a:r>
            <a:r>
              <a:rPr lang="ru-RU" altLang="en-US" sz="1200" dirty="0">
                <a:solidFill>
                  <a:srgbClr val="000000"/>
                </a:solidFill>
              </a:rPr>
              <a:t>Приоритетный сектор для реализации программы Стратегия </a:t>
            </a:r>
            <a:r>
              <a:rPr lang="en-GB" altLang="en-US" sz="1200" dirty="0">
                <a:solidFill>
                  <a:srgbClr val="000000"/>
                </a:solidFill>
              </a:rPr>
              <a:t>2020</a:t>
            </a:r>
          </a:p>
          <a:p>
            <a:pPr lvl="1"/>
            <a:r>
              <a:rPr lang="ru-RU" altLang="en-US" sz="1200" dirty="0">
                <a:solidFill>
                  <a:srgbClr val="000000"/>
                </a:solidFill>
              </a:rPr>
              <a:t>Инфраструктура</a:t>
            </a:r>
            <a:r>
              <a:rPr lang="en-GB" altLang="en-US" sz="1200" dirty="0">
                <a:solidFill>
                  <a:srgbClr val="000000"/>
                </a:solidFill>
              </a:rPr>
              <a:t>: </a:t>
            </a:r>
            <a:r>
              <a:rPr lang="ru-RU" altLang="en-US" sz="1200" dirty="0">
                <a:solidFill>
                  <a:srgbClr val="000000"/>
                </a:solidFill>
              </a:rPr>
              <a:t>развитие промзон, комплексов промышленных предприятий</a:t>
            </a:r>
            <a:endParaRPr lang="en-GB" altLang="en-US" sz="1200" dirty="0">
              <a:solidFill>
                <a:srgbClr val="000000"/>
              </a:solidFill>
            </a:endParaRPr>
          </a:p>
          <a:p>
            <a:r>
              <a:rPr lang="ru-RU" altLang="en-US" sz="1200" dirty="0">
                <a:solidFill>
                  <a:srgbClr val="000000"/>
                </a:solidFill>
              </a:rPr>
              <a:t>Другие секторы: строительство и недвижимость, финансовые услуги, горнодобывающая промышленность</a:t>
            </a:r>
            <a:endParaRPr lang="en-GB" altLang="en-US" sz="1200" dirty="0"/>
          </a:p>
        </p:txBody>
      </p:sp>
      <p:sp>
        <p:nvSpPr>
          <p:cNvPr id="13" name="Rectangle 12"/>
          <p:cNvSpPr/>
          <p:nvPr/>
        </p:nvSpPr>
        <p:spPr>
          <a:xfrm>
            <a:off x="152400" y="4648200"/>
            <a:ext cx="1382784" cy="1752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300" b="1" dirty="0" err="1">
                <a:latin typeface="Arial" pitchFamily="34" charset="0"/>
                <a:cs typeface="Arial" pitchFamily="34" charset="0"/>
              </a:rPr>
              <a:t>Неиспользо</a:t>
            </a:r>
            <a:r>
              <a:rPr lang="ru-RU" sz="1300" b="1" dirty="0">
                <a:latin typeface="Arial" pitchFamily="34" charset="0"/>
                <a:cs typeface="Arial" pitchFamily="34" charset="0"/>
              </a:rPr>
              <a:t>-ванные </a:t>
            </a:r>
            <a:r>
              <a:rPr lang="ru-RU" sz="1300" b="1" dirty="0" err="1">
                <a:latin typeface="Arial" pitchFamily="34" charset="0"/>
                <a:cs typeface="Arial" pitchFamily="34" charset="0"/>
              </a:rPr>
              <a:t>инвестицион-ные</a:t>
            </a:r>
            <a:r>
              <a:rPr lang="ru-RU" sz="1300" b="1" dirty="0">
                <a:latin typeface="Arial" pitchFamily="34" charset="0"/>
                <a:cs typeface="Arial" pitchFamily="34" charset="0"/>
              </a:rPr>
              <a:t> возможности</a:t>
            </a:r>
            <a:endParaRPr lang="en-GB" sz="1300" b="1" dirty="0">
              <a:latin typeface="Arial" pitchFamily="34" charset="0"/>
              <a:cs typeface="Arial" pitchFamily="34" charset="0"/>
            </a:endParaRPr>
          </a:p>
        </p:txBody>
      </p:sp>
      <p:sp>
        <p:nvSpPr>
          <p:cNvPr id="8208" name="Content Placeholder 1"/>
          <p:cNvSpPr>
            <a:spLocks noGrp="1"/>
          </p:cNvSpPr>
          <p:nvPr>
            <p:ph sz="quarter" idx="4294967295"/>
          </p:nvPr>
        </p:nvSpPr>
        <p:spPr>
          <a:xfrm>
            <a:off x="1676400" y="3657600"/>
            <a:ext cx="7162800" cy="781050"/>
          </a:xfrm>
        </p:spPr>
        <p:txBody>
          <a:bodyPr>
            <a:normAutofit fontScale="92500"/>
          </a:bodyPr>
          <a:lstStyle/>
          <a:p>
            <a:r>
              <a:rPr lang="ru-RU" altLang="en-US" sz="1200" dirty="0"/>
              <a:t>12 миллионный рынок потребителей, быстро растущий средний класс</a:t>
            </a:r>
            <a:endParaRPr lang="en-GB" altLang="en-US" sz="1200" dirty="0"/>
          </a:p>
          <a:p>
            <a:pPr>
              <a:lnSpc>
                <a:spcPct val="114000"/>
              </a:lnSpc>
            </a:pPr>
            <a:r>
              <a:rPr lang="ru-RU" altLang="en-US" sz="1200" dirty="0"/>
              <a:t>Быстро развивающийся интеграционный центр стран </a:t>
            </a:r>
            <a:r>
              <a:rPr lang="ru-RU" altLang="en-US" sz="1200" dirty="0" err="1"/>
              <a:t>В.Африки</a:t>
            </a:r>
            <a:r>
              <a:rPr lang="en-GB" altLang="en-US" sz="1200" dirty="0"/>
              <a:t>: </a:t>
            </a:r>
            <a:r>
              <a:rPr lang="ru-RU" altLang="en-US" sz="1200" dirty="0"/>
              <a:t>расположена в центре региона, граничит с </a:t>
            </a:r>
            <a:r>
              <a:rPr lang="en-GB" altLang="en-US" sz="1200" dirty="0"/>
              <a:t>3 </a:t>
            </a:r>
            <a:r>
              <a:rPr lang="ru-RU" altLang="en-US" sz="1200" dirty="0"/>
              <a:t>странами, входящих в единый таможенный союз и формирующих общий рынок (</a:t>
            </a:r>
            <a:r>
              <a:rPr lang="en-GB" altLang="en-US" sz="1200" dirty="0"/>
              <a:t>125M </a:t>
            </a:r>
            <a:r>
              <a:rPr lang="ru-RU" altLang="en-US" sz="1200" dirty="0"/>
              <a:t>чел. в </a:t>
            </a:r>
            <a:r>
              <a:rPr lang="en-GB" altLang="en-US" sz="1200" dirty="0"/>
              <a:t>2010</a:t>
            </a:r>
            <a:r>
              <a:rPr lang="ru-RU" altLang="en-US" sz="1200" dirty="0"/>
              <a:t>)</a:t>
            </a:r>
            <a:endParaRPr lang="en-GB" altLang="en-US" sz="1200" dirty="0"/>
          </a:p>
        </p:txBody>
      </p:sp>
      <p:sp>
        <p:nvSpPr>
          <p:cNvPr id="19" name="Rectangle 18"/>
          <p:cNvSpPr/>
          <p:nvPr/>
        </p:nvSpPr>
        <p:spPr>
          <a:xfrm>
            <a:off x="152400" y="3657600"/>
            <a:ext cx="1382784" cy="838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300" b="1" dirty="0">
                <a:latin typeface="Arial" pitchFamily="34" charset="0"/>
                <a:cs typeface="Arial" pitchFamily="34" charset="0"/>
              </a:rPr>
              <a:t>Выход к крупным рынкам</a:t>
            </a:r>
            <a:endParaRPr lang="en-GB" sz="1300" b="1" dirty="0">
              <a:latin typeface="Arial" pitchFamily="34" charset="0"/>
              <a:cs typeface="Arial" pitchFamily="34" charset="0"/>
            </a:endParaRPr>
          </a:p>
        </p:txBody>
      </p:sp>
      <p:sp>
        <p:nvSpPr>
          <p:cNvPr id="8210" name="Content Placeholder 1"/>
          <p:cNvSpPr>
            <a:spLocks noGrp="1"/>
          </p:cNvSpPr>
          <p:nvPr>
            <p:ph sz="quarter" idx="4294967295"/>
          </p:nvPr>
        </p:nvSpPr>
        <p:spPr>
          <a:xfrm>
            <a:off x="1676400" y="2637971"/>
            <a:ext cx="7239000" cy="857704"/>
          </a:xfrm>
        </p:spPr>
        <p:txBody>
          <a:bodyPr>
            <a:normAutofit lnSpcReduction="10000"/>
          </a:bodyPr>
          <a:lstStyle/>
          <a:p>
            <a:r>
              <a:rPr lang="ru-RU" altLang="en-US" sz="1200" dirty="0"/>
              <a:t>Согласно Докладу Всемирного банка, самые быстрые реформы гос. регулирования бизнеса</a:t>
            </a:r>
            <a:endParaRPr lang="en-GB" altLang="en-US" sz="1200" dirty="0"/>
          </a:p>
          <a:p>
            <a:r>
              <a:rPr lang="ru-RU" altLang="en-US" sz="1200" dirty="0"/>
              <a:t>Простая налоговая система, создание фондовой биржи</a:t>
            </a:r>
            <a:endParaRPr lang="en-GB" altLang="en-US" sz="1200" dirty="0"/>
          </a:p>
          <a:p>
            <a:r>
              <a:rPr lang="ru-RU" altLang="en-US" sz="1200" dirty="0"/>
              <a:t>Управление развития Руанды</a:t>
            </a:r>
            <a:r>
              <a:rPr lang="en-GB" altLang="en-US" sz="1200" dirty="0"/>
              <a:t>, </a:t>
            </a:r>
            <a:r>
              <a:rPr lang="ru-RU" altLang="en-US" sz="1200" dirty="0"/>
              <a:t>независимое агентство</a:t>
            </a:r>
            <a:r>
              <a:rPr lang="en-GB" altLang="en-US" sz="1200" dirty="0"/>
              <a:t>, </a:t>
            </a:r>
            <a:r>
              <a:rPr lang="ru-RU" altLang="en-US" sz="1200" dirty="0"/>
              <a:t>создано для регистрации бизнеса в едином центре</a:t>
            </a:r>
            <a:endParaRPr lang="en-GB" altLang="en-US" sz="1200" dirty="0"/>
          </a:p>
        </p:txBody>
      </p:sp>
      <p:sp>
        <p:nvSpPr>
          <p:cNvPr id="24" name="Rectangle 23"/>
          <p:cNvSpPr/>
          <p:nvPr/>
        </p:nvSpPr>
        <p:spPr>
          <a:xfrm>
            <a:off x="152400" y="2514600"/>
            <a:ext cx="1382784" cy="990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300" b="1" dirty="0" err="1">
                <a:latin typeface="Arial" pitchFamily="34" charset="0"/>
                <a:cs typeface="Arial" pitchFamily="34" charset="0"/>
              </a:rPr>
              <a:t>Благоприят-ный</a:t>
            </a:r>
            <a:r>
              <a:rPr lang="ru-RU" sz="1300" b="1" dirty="0">
                <a:latin typeface="Arial" pitchFamily="34" charset="0"/>
                <a:cs typeface="Arial" pitchFamily="34" charset="0"/>
              </a:rPr>
              <a:t> </a:t>
            </a:r>
            <a:r>
              <a:rPr lang="ru-RU" sz="1300" b="1" dirty="0" err="1">
                <a:latin typeface="Arial" pitchFamily="34" charset="0"/>
                <a:cs typeface="Arial" pitchFamily="34" charset="0"/>
              </a:rPr>
              <a:t>инвестицион-ный</a:t>
            </a:r>
            <a:r>
              <a:rPr lang="ru-RU" sz="1300" b="1" dirty="0">
                <a:latin typeface="Arial" pitchFamily="34" charset="0"/>
                <a:cs typeface="Arial" pitchFamily="34" charset="0"/>
              </a:rPr>
              <a:t> климат</a:t>
            </a:r>
            <a:endParaRPr lang="en-GB" sz="1300" b="1" dirty="0">
              <a:latin typeface="Arial" pitchFamily="34" charset="0"/>
              <a:cs typeface="Arial" pitchFamily="34" charset="0"/>
            </a:endParaRPr>
          </a:p>
        </p:txBody>
      </p:sp>
    </p:spTree>
    <p:extLst>
      <p:ext uri="{BB962C8B-B14F-4D97-AF65-F5344CB8AC3E}">
        <p14:creationId xmlns:p14="http://schemas.microsoft.com/office/powerpoint/2010/main" val="39321388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06875" y="2665413"/>
            <a:ext cx="1481138" cy="155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Title 1"/>
          <p:cNvSpPr>
            <a:spLocks noGrp="1"/>
          </p:cNvSpPr>
          <p:nvPr>
            <p:ph type="title"/>
          </p:nvPr>
        </p:nvSpPr>
        <p:spPr>
          <a:xfrm>
            <a:off x="1555603" y="116142"/>
            <a:ext cx="6477000" cy="868363"/>
          </a:xfrm>
        </p:spPr>
        <p:txBody>
          <a:bodyPr>
            <a:normAutofit fontScale="90000"/>
          </a:bodyPr>
          <a:lstStyle/>
          <a:p>
            <a:pPr fontAlgn="base">
              <a:spcAft>
                <a:spcPct val="0"/>
              </a:spcAft>
            </a:pPr>
            <a:r>
              <a:rPr lang="ru-RU" altLang="en-US" sz="3600" b="1" dirty="0">
                <a:solidFill>
                  <a:srgbClr val="3333CC"/>
                </a:solidFill>
                <a:latin typeface="Candara" panose="020E0502030303020204" pitchFamily="34" charset="0"/>
                <a:cs typeface="Times New Roman" panose="02020603050405020304" pitchFamily="18" charset="0"/>
              </a:rPr>
              <a:t>Руанда на международной арене</a:t>
            </a:r>
            <a:endParaRPr lang="en-US" altLang="en-US" sz="3600" b="1" dirty="0">
              <a:solidFill>
                <a:srgbClr val="3333CC"/>
              </a:solidFill>
              <a:latin typeface="Candara" panose="020E0502030303020204" pitchFamily="34" charset="0"/>
              <a:cs typeface="Times New Roman" panose="02020603050405020304" pitchFamily="18" charset="0"/>
            </a:endParaRPr>
          </a:p>
        </p:txBody>
      </p:sp>
      <p:sp>
        <p:nvSpPr>
          <p:cNvPr id="3482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081052DF-D7DD-48AC-83DB-7CE75AF80D5B}" type="slidenum">
              <a:rPr lang="en-ZA" altLang="en-US" sz="1200">
                <a:latin typeface="Arial" panose="020B0604020202020204" pitchFamily="34" charset="0"/>
              </a:rPr>
              <a:pPr>
                <a:spcBef>
                  <a:spcPct val="0"/>
                </a:spcBef>
                <a:buFontTx/>
                <a:buNone/>
              </a:pPr>
              <a:t>5</a:t>
            </a:fld>
            <a:endParaRPr lang="en-ZA" altLang="en-US" sz="1200">
              <a:latin typeface="Arial" panose="020B0604020202020204" pitchFamily="34" charset="0"/>
            </a:endParaRPr>
          </a:p>
        </p:txBody>
      </p:sp>
      <p:graphicFrame>
        <p:nvGraphicFramePr>
          <p:cNvPr id="3" name="Diagram 2"/>
          <p:cNvGraphicFramePr/>
          <p:nvPr>
            <p:extLst>
              <p:ext uri="{D42A27DB-BD31-4B8C-83A1-F6EECF244321}">
                <p14:modId xmlns:p14="http://schemas.microsoft.com/office/powerpoint/2010/main" val="2594649078"/>
              </p:ext>
            </p:extLst>
          </p:nvPr>
        </p:nvGraphicFramePr>
        <p:xfrm>
          <a:off x="701350" y="1029072"/>
          <a:ext cx="8077200" cy="55335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7450138" y="2212975"/>
            <a:ext cx="1539875" cy="646331"/>
          </a:xfrm>
          <a:prstGeom prst="rect">
            <a:avLst/>
          </a:prstGeom>
          <a:solidFill>
            <a:schemeClr val="bg1">
              <a:lumMod val="95000"/>
            </a:schemeClr>
          </a:solidFill>
        </p:spPr>
        <p:txBody>
          <a:bodyPr>
            <a:spAutoFit/>
          </a:bodyPr>
          <a:lstStyle/>
          <a:p>
            <a:pPr eaLnBrk="1" hangingPunct="1">
              <a:defRPr/>
            </a:pPr>
            <a:r>
              <a:rPr lang="ru-RU" sz="1200" b="1" dirty="0">
                <a:solidFill>
                  <a:schemeClr val="accent4"/>
                </a:solidFill>
                <a:latin typeface="Arial" charset="0"/>
                <a:cs typeface="Arial" charset="0"/>
              </a:rPr>
              <a:t>Доклад Всемирного Банка,</a:t>
            </a:r>
            <a:r>
              <a:rPr lang="en-US" sz="1200" b="1" dirty="0">
                <a:solidFill>
                  <a:schemeClr val="accent4"/>
                </a:solidFill>
                <a:latin typeface="Arial" charset="0"/>
                <a:cs typeface="Arial" charset="0"/>
              </a:rPr>
              <a:t> 2017</a:t>
            </a:r>
          </a:p>
        </p:txBody>
      </p:sp>
      <p:sp>
        <p:nvSpPr>
          <p:cNvPr id="10" name="TextBox 9"/>
          <p:cNvSpPr txBox="1"/>
          <p:nvPr/>
        </p:nvSpPr>
        <p:spPr>
          <a:xfrm>
            <a:off x="6813550" y="5251450"/>
            <a:ext cx="1879600" cy="600164"/>
          </a:xfrm>
          <a:prstGeom prst="rect">
            <a:avLst/>
          </a:prstGeom>
          <a:solidFill>
            <a:schemeClr val="bg1">
              <a:lumMod val="95000"/>
            </a:schemeClr>
          </a:solidFill>
        </p:spPr>
        <p:txBody>
          <a:bodyPr>
            <a:spAutoFit/>
          </a:bodyPr>
          <a:lstStyle/>
          <a:p>
            <a:pPr lvl="0">
              <a:defRPr/>
            </a:pPr>
            <a:r>
              <a:rPr lang="ru-RU" sz="1100" b="1" dirty="0">
                <a:solidFill>
                  <a:schemeClr val="accent4"/>
                </a:solidFill>
                <a:latin typeface="Arial" charset="0"/>
                <a:cs typeface="Arial" charset="0"/>
              </a:rPr>
              <a:t>Международная ассоциация конгрессов и конференций,</a:t>
            </a:r>
            <a:r>
              <a:rPr lang="en-US" sz="1100" b="1" dirty="0">
                <a:solidFill>
                  <a:schemeClr val="accent4"/>
                </a:solidFill>
                <a:latin typeface="Arial" charset="0"/>
                <a:cs typeface="Arial" charset="0"/>
              </a:rPr>
              <a:t> 2017 </a:t>
            </a:r>
          </a:p>
        </p:txBody>
      </p:sp>
      <p:sp>
        <p:nvSpPr>
          <p:cNvPr id="11" name="TextBox 10"/>
          <p:cNvSpPr txBox="1"/>
          <p:nvPr/>
        </p:nvSpPr>
        <p:spPr>
          <a:xfrm>
            <a:off x="5562439" y="1051373"/>
            <a:ext cx="2214562" cy="523220"/>
          </a:xfrm>
          <a:prstGeom prst="rect">
            <a:avLst/>
          </a:prstGeom>
          <a:solidFill>
            <a:schemeClr val="bg1">
              <a:lumMod val="95000"/>
            </a:schemeClr>
          </a:solidFill>
        </p:spPr>
        <p:txBody>
          <a:bodyPr>
            <a:spAutoFit/>
          </a:bodyPr>
          <a:lstStyle/>
          <a:p>
            <a:pPr eaLnBrk="1" hangingPunct="1">
              <a:defRPr/>
            </a:pPr>
            <a:r>
              <a:rPr lang="ru-RU" sz="1400" b="1" dirty="0">
                <a:solidFill>
                  <a:schemeClr val="accent4"/>
                </a:solidFill>
                <a:latin typeface="Arial" charset="0"/>
                <a:cs typeface="Arial" charset="0"/>
              </a:rPr>
              <a:t>Всемирный доклад по </a:t>
            </a:r>
            <a:r>
              <a:rPr lang="en-US" sz="1400" b="1" dirty="0">
                <a:solidFill>
                  <a:schemeClr val="accent4"/>
                </a:solidFill>
                <a:latin typeface="Arial" charset="0"/>
                <a:cs typeface="Arial" charset="0"/>
              </a:rPr>
              <a:t>IT</a:t>
            </a:r>
            <a:r>
              <a:rPr lang="ru-RU" sz="1400" b="1" dirty="0">
                <a:solidFill>
                  <a:schemeClr val="accent4"/>
                </a:solidFill>
                <a:latin typeface="Arial" charset="0"/>
                <a:cs typeface="Arial" charset="0"/>
              </a:rPr>
              <a:t>,</a:t>
            </a:r>
            <a:r>
              <a:rPr lang="en-US" sz="1400" b="1" dirty="0">
                <a:solidFill>
                  <a:schemeClr val="accent4"/>
                </a:solidFill>
                <a:latin typeface="Arial" charset="0"/>
                <a:cs typeface="Arial" charset="0"/>
              </a:rPr>
              <a:t> 2016</a:t>
            </a:r>
          </a:p>
        </p:txBody>
      </p:sp>
      <p:sp>
        <p:nvSpPr>
          <p:cNvPr id="12" name="TextBox 11"/>
          <p:cNvSpPr txBox="1"/>
          <p:nvPr/>
        </p:nvSpPr>
        <p:spPr>
          <a:xfrm>
            <a:off x="652783" y="5621337"/>
            <a:ext cx="2413000" cy="954107"/>
          </a:xfrm>
          <a:prstGeom prst="rect">
            <a:avLst/>
          </a:prstGeom>
          <a:solidFill>
            <a:schemeClr val="bg1">
              <a:lumMod val="95000"/>
            </a:schemeClr>
          </a:solidFill>
        </p:spPr>
        <p:txBody>
          <a:bodyPr>
            <a:spAutoFit/>
          </a:bodyPr>
          <a:lstStyle/>
          <a:p>
            <a:pPr>
              <a:defRPr/>
            </a:pPr>
            <a:r>
              <a:rPr lang="ru-RU" sz="1400" b="1" dirty="0">
                <a:solidFill>
                  <a:schemeClr val="accent4"/>
                </a:solidFill>
                <a:latin typeface="Arial" charset="0"/>
                <a:cs typeface="Arial" charset="0"/>
              </a:rPr>
              <a:t>Доклад по конкурентоспособности в области туризма,</a:t>
            </a:r>
            <a:r>
              <a:rPr lang="en-US" sz="1400" b="1" dirty="0">
                <a:solidFill>
                  <a:schemeClr val="accent4"/>
                </a:solidFill>
                <a:latin typeface="Arial" charset="0"/>
                <a:cs typeface="Arial" charset="0"/>
              </a:rPr>
              <a:t> 2016-WEF</a:t>
            </a:r>
          </a:p>
        </p:txBody>
      </p:sp>
      <p:sp>
        <p:nvSpPr>
          <p:cNvPr id="13" name="TextBox 12"/>
          <p:cNvSpPr txBox="1"/>
          <p:nvPr/>
        </p:nvSpPr>
        <p:spPr>
          <a:xfrm>
            <a:off x="279720" y="3782449"/>
            <a:ext cx="1579563" cy="1015663"/>
          </a:xfrm>
          <a:prstGeom prst="rect">
            <a:avLst/>
          </a:prstGeom>
          <a:solidFill>
            <a:schemeClr val="bg1">
              <a:lumMod val="95000"/>
            </a:schemeClr>
          </a:solidFill>
        </p:spPr>
        <p:txBody>
          <a:bodyPr>
            <a:spAutoFit/>
          </a:bodyPr>
          <a:lstStyle/>
          <a:p>
            <a:pPr>
              <a:defRPr/>
            </a:pPr>
            <a:r>
              <a:rPr lang="ru-RU" sz="1200" b="1" dirty="0">
                <a:solidFill>
                  <a:schemeClr val="accent4"/>
                </a:solidFill>
                <a:latin typeface="Arial" charset="0"/>
                <a:cs typeface="Arial" charset="0"/>
              </a:rPr>
              <a:t>Всемирный доклад о разнице в положении мужчин и женщин</a:t>
            </a:r>
            <a:r>
              <a:rPr lang="en-US" sz="1200" b="1" dirty="0">
                <a:solidFill>
                  <a:schemeClr val="accent4"/>
                </a:solidFill>
                <a:latin typeface="Arial" charset="0"/>
                <a:cs typeface="Arial" charset="0"/>
              </a:rPr>
              <a:t> 2016</a:t>
            </a:r>
          </a:p>
        </p:txBody>
      </p:sp>
      <p:sp>
        <p:nvSpPr>
          <p:cNvPr id="16" name="TextBox 15"/>
          <p:cNvSpPr txBox="1"/>
          <p:nvPr/>
        </p:nvSpPr>
        <p:spPr>
          <a:xfrm>
            <a:off x="385894" y="1611313"/>
            <a:ext cx="2033456" cy="646331"/>
          </a:xfrm>
          <a:prstGeom prst="rect">
            <a:avLst/>
          </a:prstGeom>
          <a:solidFill>
            <a:schemeClr val="bg1">
              <a:lumMod val="95000"/>
            </a:schemeClr>
          </a:solidFill>
        </p:spPr>
        <p:txBody>
          <a:bodyPr wrap="square">
            <a:spAutoFit/>
          </a:bodyPr>
          <a:lstStyle/>
          <a:p>
            <a:pPr eaLnBrk="1" hangingPunct="1">
              <a:defRPr/>
            </a:pPr>
            <a:r>
              <a:rPr lang="ru-RU" sz="1200" b="1" dirty="0">
                <a:solidFill>
                  <a:schemeClr val="accent4"/>
                </a:solidFill>
                <a:latin typeface="Arial" charset="0"/>
                <a:cs typeface="Arial" charset="0"/>
              </a:rPr>
              <a:t>Всемирный доклад по конкурентоспособности </a:t>
            </a:r>
            <a:r>
              <a:rPr lang="en-US" sz="1200" b="1" dirty="0">
                <a:solidFill>
                  <a:schemeClr val="accent4"/>
                </a:solidFill>
                <a:latin typeface="Arial" charset="0"/>
                <a:cs typeface="Arial" charset="0"/>
              </a:rPr>
              <a:t>2016-17</a:t>
            </a:r>
          </a:p>
        </p:txBody>
      </p:sp>
      <p:sp>
        <p:nvSpPr>
          <p:cNvPr id="14" name="TextBox 13"/>
          <p:cNvSpPr txBox="1"/>
          <p:nvPr/>
        </p:nvSpPr>
        <p:spPr>
          <a:xfrm>
            <a:off x="7543800" y="3352800"/>
            <a:ext cx="1446213" cy="938719"/>
          </a:xfrm>
          <a:prstGeom prst="rect">
            <a:avLst/>
          </a:prstGeom>
          <a:solidFill>
            <a:schemeClr val="bg1">
              <a:lumMod val="95000"/>
            </a:schemeClr>
          </a:solidFill>
        </p:spPr>
        <p:txBody>
          <a:bodyPr>
            <a:spAutoFit/>
          </a:bodyPr>
          <a:lstStyle/>
          <a:p>
            <a:pPr eaLnBrk="1" hangingPunct="1">
              <a:defRPr/>
            </a:pPr>
            <a:r>
              <a:rPr lang="ru-RU" sz="1100" b="1" dirty="0">
                <a:solidFill>
                  <a:schemeClr val="accent4"/>
                </a:solidFill>
                <a:latin typeface="Arial" charset="0"/>
                <a:cs typeface="Arial" charset="0"/>
              </a:rPr>
              <a:t>Доклад по </a:t>
            </a:r>
            <a:r>
              <a:rPr lang="ru-RU" sz="1100" b="1" dirty="0" err="1">
                <a:solidFill>
                  <a:schemeClr val="accent4"/>
                </a:solidFill>
                <a:latin typeface="Arial" charset="0"/>
                <a:cs typeface="Arial" charset="0"/>
              </a:rPr>
              <a:t>конкурентоспо-собности</a:t>
            </a:r>
            <a:r>
              <a:rPr lang="ru-RU" sz="1100" b="1" dirty="0">
                <a:solidFill>
                  <a:schemeClr val="accent4"/>
                </a:solidFill>
                <a:latin typeface="Arial" charset="0"/>
                <a:cs typeface="Arial" charset="0"/>
              </a:rPr>
              <a:t> африканских стран, </a:t>
            </a:r>
            <a:r>
              <a:rPr lang="en-US" sz="1100" b="1" dirty="0">
                <a:solidFill>
                  <a:schemeClr val="accent4"/>
                </a:solidFill>
                <a:latin typeface="Arial" charset="0"/>
                <a:cs typeface="Arial" charset="0"/>
              </a:rPr>
              <a:t>2017</a:t>
            </a:r>
          </a:p>
        </p:txBody>
      </p:sp>
      <p:pic>
        <p:nvPicPr>
          <p:cNvPr id="17" name="Picture 16" descr="RDB logo.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06983" y="5806941"/>
            <a:ext cx="1186192" cy="1051708"/>
          </a:xfrm>
          <a:prstGeom prst="rect">
            <a:avLst/>
          </a:prstGeom>
        </p:spPr>
      </p:pic>
    </p:spTree>
    <p:extLst>
      <p:ext uri="{BB962C8B-B14F-4D97-AF65-F5344CB8AC3E}">
        <p14:creationId xmlns:p14="http://schemas.microsoft.com/office/powerpoint/2010/main" val="3290069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descr="RDB 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06983" y="5806941"/>
            <a:ext cx="1186192" cy="1051708"/>
          </a:xfrm>
          <a:prstGeom prst="rect">
            <a:avLst/>
          </a:prstGeom>
        </p:spPr>
      </p:pic>
      <p:cxnSp>
        <p:nvCxnSpPr>
          <p:cNvPr id="55" name="Straight Connector 54"/>
          <p:cNvCxnSpPr/>
          <p:nvPr/>
        </p:nvCxnSpPr>
        <p:spPr>
          <a:xfrm>
            <a:off x="0" y="6450384"/>
            <a:ext cx="7706983"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sp>
        <p:nvSpPr>
          <p:cNvPr id="7" name="Title 3"/>
          <p:cNvSpPr txBox="1">
            <a:spLocks/>
          </p:cNvSpPr>
          <p:nvPr/>
        </p:nvSpPr>
        <p:spPr bwMode="auto">
          <a:xfrm>
            <a:off x="250825" y="266947"/>
            <a:ext cx="8642350"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ct val="90000"/>
              </a:lnSpc>
              <a:spcBef>
                <a:spcPct val="0"/>
              </a:spcBef>
              <a:spcAft>
                <a:spcPct val="0"/>
              </a:spcAft>
              <a:defRPr sz="2400" b="1" kern="1200">
                <a:solidFill>
                  <a:schemeClr val="tx2"/>
                </a:solidFill>
                <a:latin typeface="Arial"/>
                <a:ea typeface="+mj-ea"/>
                <a:cs typeface="Arial"/>
                <a:sym typeface="Arial"/>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lvl="0" algn="ctr" defTabSz="914400">
              <a:defRPr/>
            </a:pPr>
            <a:r>
              <a:rPr lang="ru-RU" sz="2800" dirty="0">
                <a:solidFill>
                  <a:srgbClr val="002960"/>
                </a:solidFill>
              </a:rPr>
              <a:t>Инвестиционная привлекательность</a:t>
            </a:r>
            <a:r>
              <a:rPr kumimoji="0" lang="en-US" sz="2800" b="1" i="0" u="none" strike="noStrike" kern="1200" cap="none" spc="0" normalizeH="0" noProof="0" dirty="0">
                <a:ln>
                  <a:noFill/>
                </a:ln>
                <a:solidFill>
                  <a:srgbClr val="002960"/>
                </a:solidFill>
                <a:effectLst/>
                <a:uLnTx/>
                <a:uFillTx/>
                <a:latin typeface="Arial"/>
                <a:ea typeface="+mj-ea"/>
                <a:cs typeface="Arial"/>
                <a:sym typeface="Arial"/>
              </a:rPr>
              <a:t> – </a:t>
            </a:r>
            <a:r>
              <a:rPr kumimoji="0" lang="ru-RU" sz="2800" b="1" i="0" u="none" strike="noStrike" kern="1200" cap="none" spc="0" normalizeH="0" noProof="0" dirty="0">
                <a:ln>
                  <a:noFill/>
                </a:ln>
                <a:solidFill>
                  <a:srgbClr val="002960"/>
                </a:solidFill>
                <a:effectLst/>
                <a:uLnTx/>
                <a:uFillTx/>
                <a:latin typeface="Arial"/>
                <a:ea typeface="+mj-ea"/>
                <a:cs typeface="Arial"/>
                <a:sym typeface="Arial"/>
              </a:rPr>
              <a:t>сопоставительный анализ</a:t>
            </a:r>
            <a:endParaRPr kumimoji="0" lang="en-GB" sz="2800" b="1" i="0" u="none" strike="noStrike" kern="1200" cap="none" spc="0" normalizeH="0" baseline="0" noProof="0" dirty="0">
              <a:ln>
                <a:noFill/>
              </a:ln>
              <a:solidFill>
                <a:srgbClr val="002960"/>
              </a:solidFill>
              <a:effectLst/>
              <a:uLnTx/>
              <a:uFillTx/>
              <a:latin typeface="Arial"/>
              <a:ea typeface="+mj-ea"/>
              <a:cs typeface="Arial"/>
              <a:sym typeface="Arial"/>
            </a:endParaRPr>
          </a:p>
        </p:txBody>
      </p:sp>
      <p:cxnSp>
        <p:nvCxnSpPr>
          <p:cNvPr id="8" name="Straight Connector 7"/>
          <p:cNvCxnSpPr/>
          <p:nvPr/>
        </p:nvCxnSpPr>
        <p:spPr>
          <a:xfrm>
            <a:off x="0" y="1027326"/>
            <a:ext cx="9144000"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sp>
        <p:nvSpPr>
          <p:cNvPr id="26" name="Freeform 38" descr="textur5"/>
          <p:cNvSpPr>
            <a:spLocks/>
          </p:cNvSpPr>
          <p:nvPr/>
        </p:nvSpPr>
        <p:spPr bwMode="auto">
          <a:xfrm>
            <a:off x="856927" y="1560692"/>
            <a:ext cx="2697480" cy="1233087"/>
          </a:xfrm>
          <a:custGeom>
            <a:avLst/>
            <a:gdLst>
              <a:gd name="T0" fmla="*/ 7610 w 1027"/>
              <a:gd name="T1" fmla="*/ 8 h 772"/>
              <a:gd name="T2" fmla="*/ 7668 w 1027"/>
              <a:gd name="T3" fmla="*/ 242 h 772"/>
              <a:gd name="T4" fmla="*/ 7710 w 1027"/>
              <a:gd name="T5" fmla="*/ 514 h 772"/>
              <a:gd name="T6" fmla="*/ 7688 w 1027"/>
              <a:gd name="T7" fmla="*/ 691 h 772"/>
              <a:gd name="T8" fmla="*/ 7605 w 1027"/>
              <a:gd name="T9" fmla="*/ 1011 h 772"/>
              <a:gd name="T10" fmla="*/ 7643 w 1027"/>
              <a:gd name="T11" fmla="*/ 1137 h 772"/>
              <a:gd name="T12" fmla="*/ 7529 w 1027"/>
              <a:gd name="T13" fmla="*/ 1446 h 772"/>
              <a:gd name="T14" fmla="*/ 7564 w 1027"/>
              <a:gd name="T15" fmla="*/ 1627 h 772"/>
              <a:gd name="T16" fmla="*/ 7383 w 1027"/>
              <a:gd name="T17" fmla="*/ 1718 h 772"/>
              <a:gd name="T18" fmla="*/ 7347 w 1027"/>
              <a:gd name="T19" fmla="*/ 1919 h 772"/>
              <a:gd name="T20" fmla="*/ 7401 w 1027"/>
              <a:gd name="T21" fmla="*/ 2111 h 772"/>
              <a:gd name="T22" fmla="*/ 7325 w 1027"/>
              <a:gd name="T23" fmla="*/ 2237 h 772"/>
              <a:gd name="T24" fmla="*/ 7342 w 1027"/>
              <a:gd name="T25" fmla="*/ 2442 h 772"/>
              <a:gd name="T26" fmla="*/ 7320 w 1027"/>
              <a:gd name="T27" fmla="*/ 2666 h 772"/>
              <a:gd name="T28" fmla="*/ 7250 w 1027"/>
              <a:gd name="T29" fmla="*/ 2775 h 772"/>
              <a:gd name="T30" fmla="*/ 7272 w 1027"/>
              <a:gd name="T31" fmla="*/ 3019 h 772"/>
              <a:gd name="T32" fmla="*/ 7242 w 1027"/>
              <a:gd name="T33" fmla="*/ 3193 h 772"/>
              <a:gd name="T34" fmla="*/ 7297 w 1027"/>
              <a:gd name="T35" fmla="*/ 3370 h 772"/>
              <a:gd name="T36" fmla="*/ 7196 w 1027"/>
              <a:gd name="T37" fmla="*/ 3532 h 772"/>
              <a:gd name="T38" fmla="*/ 7174 w 1027"/>
              <a:gd name="T39" fmla="*/ 3738 h 772"/>
              <a:gd name="T40" fmla="*/ 7113 w 1027"/>
              <a:gd name="T41" fmla="*/ 3842 h 772"/>
              <a:gd name="T42" fmla="*/ 7151 w 1027"/>
              <a:gd name="T43" fmla="*/ 3970 h 772"/>
              <a:gd name="T44" fmla="*/ 7105 w 1027"/>
              <a:gd name="T45" fmla="*/ 4037 h 772"/>
              <a:gd name="T46" fmla="*/ 7096 w 1027"/>
              <a:gd name="T47" fmla="*/ 4279 h 772"/>
              <a:gd name="T48" fmla="*/ 7159 w 1027"/>
              <a:gd name="T49" fmla="*/ 4467 h 772"/>
              <a:gd name="T50" fmla="*/ 7217 w 1027"/>
              <a:gd name="T51" fmla="*/ 4564 h 772"/>
              <a:gd name="T52" fmla="*/ 7272 w 1027"/>
              <a:gd name="T53" fmla="*/ 4752 h 772"/>
              <a:gd name="T54" fmla="*/ 7368 w 1027"/>
              <a:gd name="T55" fmla="*/ 4897 h 772"/>
              <a:gd name="T56" fmla="*/ 7471 w 1027"/>
              <a:gd name="T57" fmla="*/ 5081 h 772"/>
              <a:gd name="T58" fmla="*/ 7391 w 1027"/>
              <a:gd name="T59" fmla="*/ 5229 h 772"/>
              <a:gd name="T60" fmla="*/ 7120 w 1027"/>
              <a:gd name="T61" fmla="*/ 5311 h 772"/>
              <a:gd name="T62" fmla="*/ 6941 w 1027"/>
              <a:gd name="T63" fmla="*/ 5366 h 772"/>
              <a:gd name="T64" fmla="*/ 6614 w 1027"/>
              <a:gd name="T65" fmla="*/ 5358 h 772"/>
              <a:gd name="T66" fmla="*/ 6380 w 1027"/>
              <a:gd name="T67" fmla="*/ 5530 h 772"/>
              <a:gd name="T68" fmla="*/ 6163 w 1027"/>
              <a:gd name="T69" fmla="*/ 5610 h 772"/>
              <a:gd name="T70" fmla="*/ 5976 w 1027"/>
              <a:gd name="T71" fmla="*/ 5621 h 772"/>
              <a:gd name="T72" fmla="*/ 5784 w 1027"/>
              <a:gd name="T73" fmla="*/ 5676 h 772"/>
              <a:gd name="T74" fmla="*/ 5597 w 1027"/>
              <a:gd name="T75" fmla="*/ 5717 h 772"/>
              <a:gd name="T76" fmla="*/ 5452 w 1027"/>
              <a:gd name="T77" fmla="*/ 5755 h 772"/>
              <a:gd name="T78" fmla="*/ 5227 w 1027"/>
              <a:gd name="T79" fmla="*/ 5704 h 772"/>
              <a:gd name="T80" fmla="*/ 4856 w 1027"/>
              <a:gd name="T81" fmla="*/ 5712 h 772"/>
              <a:gd name="T82" fmla="*/ 4693 w 1027"/>
              <a:gd name="T83" fmla="*/ 5693 h 772"/>
              <a:gd name="T84" fmla="*/ 4564 w 1027"/>
              <a:gd name="T85" fmla="*/ 5621 h 772"/>
              <a:gd name="T86" fmla="*/ 4238 w 1027"/>
              <a:gd name="T87" fmla="*/ 5538 h 772"/>
              <a:gd name="T88" fmla="*/ 4087 w 1027"/>
              <a:gd name="T89" fmla="*/ 5538 h 772"/>
              <a:gd name="T90" fmla="*/ 3865 w 1027"/>
              <a:gd name="T91" fmla="*/ 5505 h 772"/>
              <a:gd name="T92" fmla="*/ 3686 w 1027"/>
              <a:gd name="T93" fmla="*/ 5538 h 772"/>
              <a:gd name="T94" fmla="*/ 3498 w 1027"/>
              <a:gd name="T95" fmla="*/ 5484 h 772"/>
              <a:gd name="T96" fmla="*/ 3131 w 1027"/>
              <a:gd name="T97" fmla="*/ 5517 h 772"/>
              <a:gd name="T98" fmla="*/ 2721 w 1027"/>
              <a:gd name="T99" fmla="*/ 5562 h 772"/>
              <a:gd name="T100" fmla="*/ 2277 w 1027"/>
              <a:gd name="T101" fmla="*/ 5583 h 772"/>
              <a:gd name="T102" fmla="*/ 1697 w 1027"/>
              <a:gd name="T103" fmla="*/ 5575 h 772"/>
              <a:gd name="T104" fmla="*/ 1228 w 1027"/>
              <a:gd name="T105" fmla="*/ 5545 h 772"/>
              <a:gd name="T106" fmla="*/ 974 w 1027"/>
              <a:gd name="T107" fmla="*/ 5530 h 772"/>
              <a:gd name="T108" fmla="*/ 756 w 1027"/>
              <a:gd name="T109" fmla="*/ 5575 h 772"/>
              <a:gd name="T110" fmla="*/ 484 w 1027"/>
              <a:gd name="T111" fmla="*/ 5562 h 772"/>
              <a:gd name="T112" fmla="*/ 250 w 1027"/>
              <a:gd name="T113" fmla="*/ 5545 h 772"/>
              <a:gd name="T114" fmla="*/ 0 w 1027"/>
              <a:gd name="T115" fmla="*/ 5583 h 772"/>
              <a:gd name="T116" fmla="*/ 0 w 1027"/>
              <a:gd name="T117" fmla="*/ 0 h 772"/>
              <a:gd name="T118" fmla="*/ 7610 w 1027"/>
              <a:gd name="T119" fmla="*/ 8 h 7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27"/>
              <a:gd name="T181" fmla="*/ 0 h 772"/>
              <a:gd name="T182" fmla="*/ 1027 w 1027"/>
              <a:gd name="T183" fmla="*/ 772 h 7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27" h="772">
                <a:moveTo>
                  <a:pt x="1009" y="1"/>
                </a:moveTo>
                <a:cubicBezTo>
                  <a:pt x="1009" y="1"/>
                  <a:pt x="1027" y="15"/>
                  <a:pt x="1017" y="32"/>
                </a:cubicBezTo>
                <a:cubicBezTo>
                  <a:pt x="1008" y="48"/>
                  <a:pt x="1022" y="68"/>
                  <a:pt x="1022" y="68"/>
                </a:cubicBezTo>
                <a:cubicBezTo>
                  <a:pt x="1019" y="92"/>
                  <a:pt x="1019" y="92"/>
                  <a:pt x="1019" y="92"/>
                </a:cubicBezTo>
                <a:cubicBezTo>
                  <a:pt x="1008" y="134"/>
                  <a:pt x="1008" y="134"/>
                  <a:pt x="1008" y="134"/>
                </a:cubicBezTo>
                <a:cubicBezTo>
                  <a:pt x="1013" y="151"/>
                  <a:pt x="1013" y="151"/>
                  <a:pt x="1013" y="151"/>
                </a:cubicBezTo>
                <a:cubicBezTo>
                  <a:pt x="1013" y="151"/>
                  <a:pt x="996" y="189"/>
                  <a:pt x="998" y="192"/>
                </a:cubicBezTo>
                <a:cubicBezTo>
                  <a:pt x="1001" y="196"/>
                  <a:pt x="1003" y="216"/>
                  <a:pt x="1003" y="216"/>
                </a:cubicBezTo>
                <a:cubicBezTo>
                  <a:pt x="979" y="228"/>
                  <a:pt x="979" y="228"/>
                  <a:pt x="979" y="228"/>
                </a:cubicBezTo>
                <a:cubicBezTo>
                  <a:pt x="979" y="228"/>
                  <a:pt x="971" y="243"/>
                  <a:pt x="974" y="255"/>
                </a:cubicBezTo>
                <a:cubicBezTo>
                  <a:pt x="978" y="268"/>
                  <a:pt x="981" y="280"/>
                  <a:pt x="981" y="280"/>
                </a:cubicBezTo>
                <a:cubicBezTo>
                  <a:pt x="971" y="297"/>
                  <a:pt x="971" y="297"/>
                  <a:pt x="971" y="297"/>
                </a:cubicBezTo>
                <a:cubicBezTo>
                  <a:pt x="973" y="324"/>
                  <a:pt x="973" y="324"/>
                  <a:pt x="973" y="324"/>
                </a:cubicBezTo>
                <a:cubicBezTo>
                  <a:pt x="970" y="354"/>
                  <a:pt x="970" y="354"/>
                  <a:pt x="970" y="354"/>
                </a:cubicBezTo>
                <a:cubicBezTo>
                  <a:pt x="961" y="368"/>
                  <a:pt x="961" y="368"/>
                  <a:pt x="961" y="368"/>
                </a:cubicBezTo>
                <a:cubicBezTo>
                  <a:pt x="964" y="401"/>
                  <a:pt x="964" y="401"/>
                  <a:pt x="964" y="401"/>
                </a:cubicBezTo>
                <a:cubicBezTo>
                  <a:pt x="960" y="424"/>
                  <a:pt x="960" y="424"/>
                  <a:pt x="960" y="424"/>
                </a:cubicBezTo>
                <a:cubicBezTo>
                  <a:pt x="967" y="447"/>
                  <a:pt x="967" y="447"/>
                  <a:pt x="967" y="447"/>
                </a:cubicBezTo>
                <a:cubicBezTo>
                  <a:pt x="954" y="469"/>
                  <a:pt x="954" y="469"/>
                  <a:pt x="954" y="469"/>
                </a:cubicBezTo>
                <a:cubicBezTo>
                  <a:pt x="951" y="496"/>
                  <a:pt x="951" y="496"/>
                  <a:pt x="951" y="496"/>
                </a:cubicBezTo>
                <a:cubicBezTo>
                  <a:pt x="943" y="510"/>
                  <a:pt x="943" y="510"/>
                  <a:pt x="943" y="510"/>
                </a:cubicBezTo>
                <a:cubicBezTo>
                  <a:pt x="948" y="527"/>
                  <a:pt x="948" y="527"/>
                  <a:pt x="948" y="527"/>
                </a:cubicBezTo>
                <a:cubicBezTo>
                  <a:pt x="942" y="536"/>
                  <a:pt x="942" y="536"/>
                  <a:pt x="942" y="536"/>
                </a:cubicBezTo>
                <a:cubicBezTo>
                  <a:pt x="942" y="536"/>
                  <a:pt x="927" y="540"/>
                  <a:pt x="941" y="568"/>
                </a:cubicBezTo>
                <a:cubicBezTo>
                  <a:pt x="954" y="596"/>
                  <a:pt x="949" y="593"/>
                  <a:pt x="949" y="593"/>
                </a:cubicBezTo>
                <a:cubicBezTo>
                  <a:pt x="957" y="606"/>
                  <a:pt x="957" y="606"/>
                  <a:pt x="957" y="606"/>
                </a:cubicBezTo>
                <a:cubicBezTo>
                  <a:pt x="964" y="631"/>
                  <a:pt x="964" y="631"/>
                  <a:pt x="964" y="631"/>
                </a:cubicBezTo>
                <a:cubicBezTo>
                  <a:pt x="964" y="631"/>
                  <a:pt x="970" y="647"/>
                  <a:pt x="977" y="650"/>
                </a:cubicBezTo>
                <a:cubicBezTo>
                  <a:pt x="985" y="654"/>
                  <a:pt x="990" y="674"/>
                  <a:pt x="990" y="674"/>
                </a:cubicBezTo>
                <a:cubicBezTo>
                  <a:pt x="990" y="674"/>
                  <a:pt x="984" y="696"/>
                  <a:pt x="980" y="694"/>
                </a:cubicBezTo>
                <a:cubicBezTo>
                  <a:pt x="975" y="691"/>
                  <a:pt x="944" y="705"/>
                  <a:pt x="944" y="705"/>
                </a:cubicBezTo>
                <a:cubicBezTo>
                  <a:pt x="944" y="705"/>
                  <a:pt x="924" y="714"/>
                  <a:pt x="920" y="712"/>
                </a:cubicBezTo>
                <a:cubicBezTo>
                  <a:pt x="916" y="710"/>
                  <a:pt x="896" y="697"/>
                  <a:pt x="877" y="711"/>
                </a:cubicBezTo>
                <a:cubicBezTo>
                  <a:pt x="857" y="726"/>
                  <a:pt x="846" y="734"/>
                  <a:pt x="846" y="734"/>
                </a:cubicBezTo>
                <a:cubicBezTo>
                  <a:pt x="817" y="745"/>
                  <a:pt x="817" y="745"/>
                  <a:pt x="817" y="745"/>
                </a:cubicBezTo>
                <a:cubicBezTo>
                  <a:pt x="792" y="746"/>
                  <a:pt x="792" y="746"/>
                  <a:pt x="792" y="746"/>
                </a:cubicBezTo>
                <a:cubicBezTo>
                  <a:pt x="792" y="746"/>
                  <a:pt x="789" y="740"/>
                  <a:pt x="767" y="753"/>
                </a:cubicBezTo>
                <a:cubicBezTo>
                  <a:pt x="744" y="766"/>
                  <a:pt x="742" y="759"/>
                  <a:pt x="742" y="759"/>
                </a:cubicBezTo>
                <a:cubicBezTo>
                  <a:pt x="723" y="764"/>
                  <a:pt x="723" y="764"/>
                  <a:pt x="723" y="764"/>
                </a:cubicBezTo>
                <a:cubicBezTo>
                  <a:pt x="693" y="757"/>
                  <a:pt x="693" y="757"/>
                  <a:pt x="693" y="757"/>
                </a:cubicBezTo>
                <a:cubicBezTo>
                  <a:pt x="693" y="757"/>
                  <a:pt x="666" y="745"/>
                  <a:pt x="644" y="758"/>
                </a:cubicBezTo>
                <a:cubicBezTo>
                  <a:pt x="621" y="772"/>
                  <a:pt x="622" y="756"/>
                  <a:pt x="622" y="756"/>
                </a:cubicBezTo>
                <a:cubicBezTo>
                  <a:pt x="605" y="746"/>
                  <a:pt x="605" y="746"/>
                  <a:pt x="605" y="746"/>
                </a:cubicBezTo>
                <a:cubicBezTo>
                  <a:pt x="605" y="746"/>
                  <a:pt x="580" y="723"/>
                  <a:pt x="562" y="735"/>
                </a:cubicBezTo>
                <a:cubicBezTo>
                  <a:pt x="545" y="747"/>
                  <a:pt x="547" y="739"/>
                  <a:pt x="542" y="735"/>
                </a:cubicBezTo>
                <a:cubicBezTo>
                  <a:pt x="536" y="732"/>
                  <a:pt x="519" y="722"/>
                  <a:pt x="512" y="731"/>
                </a:cubicBezTo>
                <a:cubicBezTo>
                  <a:pt x="504" y="740"/>
                  <a:pt x="489" y="735"/>
                  <a:pt x="489" y="735"/>
                </a:cubicBezTo>
                <a:cubicBezTo>
                  <a:pt x="464" y="728"/>
                  <a:pt x="464" y="728"/>
                  <a:pt x="464" y="728"/>
                </a:cubicBezTo>
                <a:cubicBezTo>
                  <a:pt x="415" y="732"/>
                  <a:pt x="415" y="732"/>
                  <a:pt x="415" y="732"/>
                </a:cubicBezTo>
                <a:cubicBezTo>
                  <a:pt x="361" y="738"/>
                  <a:pt x="361" y="738"/>
                  <a:pt x="361" y="738"/>
                </a:cubicBezTo>
                <a:cubicBezTo>
                  <a:pt x="302" y="741"/>
                  <a:pt x="302" y="741"/>
                  <a:pt x="302" y="741"/>
                </a:cubicBezTo>
                <a:cubicBezTo>
                  <a:pt x="225" y="740"/>
                  <a:pt x="225" y="740"/>
                  <a:pt x="225" y="740"/>
                </a:cubicBezTo>
                <a:cubicBezTo>
                  <a:pt x="163" y="736"/>
                  <a:pt x="163" y="736"/>
                  <a:pt x="163" y="736"/>
                </a:cubicBezTo>
                <a:cubicBezTo>
                  <a:pt x="129" y="734"/>
                  <a:pt x="129" y="734"/>
                  <a:pt x="129" y="734"/>
                </a:cubicBezTo>
                <a:cubicBezTo>
                  <a:pt x="100" y="740"/>
                  <a:pt x="100" y="740"/>
                  <a:pt x="100" y="740"/>
                </a:cubicBezTo>
                <a:cubicBezTo>
                  <a:pt x="64" y="738"/>
                  <a:pt x="64" y="738"/>
                  <a:pt x="64" y="738"/>
                </a:cubicBezTo>
                <a:cubicBezTo>
                  <a:pt x="33" y="736"/>
                  <a:pt x="33" y="736"/>
                  <a:pt x="33" y="736"/>
                </a:cubicBezTo>
                <a:cubicBezTo>
                  <a:pt x="0" y="741"/>
                  <a:pt x="0" y="741"/>
                  <a:pt x="0" y="741"/>
                </a:cubicBezTo>
                <a:cubicBezTo>
                  <a:pt x="0" y="0"/>
                  <a:pt x="0" y="0"/>
                  <a:pt x="0" y="0"/>
                </a:cubicBezTo>
                <a:lnTo>
                  <a:pt x="1009" y="1"/>
                </a:lnTo>
                <a:close/>
              </a:path>
            </a:pathLst>
          </a:custGeom>
          <a:solidFill>
            <a:srgbClr val="808080">
              <a:lumMod val="20000"/>
              <a:lumOff val="80000"/>
            </a:srgbClr>
          </a:solidFill>
          <a:ln w="6350">
            <a:solidFill>
              <a:srgbClr val="91B0FF">
                <a:alpha val="75000"/>
              </a:srgbClr>
            </a:solidFill>
            <a:miter lim="800000"/>
            <a:headEnd/>
            <a:tailEnd/>
          </a:ln>
          <a:effectLst>
            <a:outerShdw blurRad="50800" dist="38100" dir="2700000" algn="tl" rotWithShape="0">
              <a:prstClr val="black">
                <a:alpha val="40000"/>
              </a:prstClr>
            </a:outerShdw>
          </a:effectLst>
        </p:spPr>
        <p:txBody>
          <a:bodyPr/>
          <a:lstStyle/>
          <a:p>
            <a:pPr marL="0" marR="0" lvl="0" indent="339725" defTabSz="91440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 </a:t>
            </a:r>
          </a:p>
        </p:txBody>
      </p:sp>
      <p:sp>
        <p:nvSpPr>
          <p:cNvPr id="28" name="Freeform 38" descr="textur5"/>
          <p:cNvSpPr>
            <a:spLocks/>
          </p:cNvSpPr>
          <p:nvPr/>
        </p:nvSpPr>
        <p:spPr bwMode="auto">
          <a:xfrm>
            <a:off x="3504998" y="1551785"/>
            <a:ext cx="2697480" cy="1233087"/>
          </a:xfrm>
          <a:custGeom>
            <a:avLst/>
            <a:gdLst>
              <a:gd name="T0" fmla="*/ 7610 w 1027"/>
              <a:gd name="T1" fmla="*/ 8 h 772"/>
              <a:gd name="T2" fmla="*/ 7668 w 1027"/>
              <a:gd name="T3" fmla="*/ 242 h 772"/>
              <a:gd name="T4" fmla="*/ 7710 w 1027"/>
              <a:gd name="T5" fmla="*/ 514 h 772"/>
              <a:gd name="T6" fmla="*/ 7688 w 1027"/>
              <a:gd name="T7" fmla="*/ 691 h 772"/>
              <a:gd name="T8" fmla="*/ 7605 w 1027"/>
              <a:gd name="T9" fmla="*/ 1011 h 772"/>
              <a:gd name="T10" fmla="*/ 7643 w 1027"/>
              <a:gd name="T11" fmla="*/ 1137 h 772"/>
              <a:gd name="T12" fmla="*/ 7529 w 1027"/>
              <a:gd name="T13" fmla="*/ 1446 h 772"/>
              <a:gd name="T14" fmla="*/ 7564 w 1027"/>
              <a:gd name="T15" fmla="*/ 1627 h 772"/>
              <a:gd name="T16" fmla="*/ 7383 w 1027"/>
              <a:gd name="T17" fmla="*/ 1718 h 772"/>
              <a:gd name="T18" fmla="*/ 7347 w 1027"/>
              <a:gd name="T19" fmla="*/ 1919 h 772"/>
              <a:gd name="T20" fmla="*/ 7401 w 1027"/>
              <a:gd name="T21" fmla="*/ 2111 h 772"/>
              <a:gd name="T22" fmla="*/ 7325 w 1027"/>
              <a:gd name="T23" fmla="*/ 2237 h 772"/>
              <a:gd name="T24" fmla="*/ 7342 w 1027"/>
              <a:gd name="T25" fmla="*/ 2442 h 772"/>
              <a:gd name="T26" fmla="*/ 7320 w 1027"/>
              <a:gd name="T27" fmla="*/ 2666 h 772"/>
              <a:gd name="T28" fmla="*/ 7250 w 1027"/>
              <a:gd name="T29" fmla="*/ 2775 h 772"/>
              <a:gd name="T30" fmla="*/ 7272 w 1027"/>
              <a:gd name="T31" fmla="*/ 3019 h 772"/>
              <a:gd name="T32" fmla="*/ 7242 w 1027"/>
              <a:gd name="T33" fmla="*/ 3193 h 772"/>
              <a:gd name="T34" fmla="*/ 7297 w 1027"/>
              <a:gd name="T35" fmla="*/ 3370 h 772"/>
              <a:gd name="T36" fmla="*/ 7196 w 1027"/>
              <a:gd name="T37" fmla="*/ 3532 h 772"/>
              <a:gd name="T38" fmla="*/ 7174 w 1027"/>
              <a:gd name="T39" fmla="*/ 3738 h 772"/>
              <a:gd name="T40" fmla="*/ 7113 w 1027"/>
              <a:gd name="T41" fmla="*/ 3842 h 772"/>
              <a:gd name="T42" fmla="*/ 7151 w 1027"/>
              <a:gd name="T43" fmla="*/ 3970 h 772"/>
              <a:gd name="T44" fmla="*/ 7105 w 1027"/>
              <a:gd name="T45" fmla="*/ 4037 h 772"/>
              <a:gd name="T46" fmla="*/ 7096 w 1027"/>
              <a:gd name="T47" fmla="*/ 4279 h 772"/>
              <a:gd name="T48" fmla="*/ 7159 w 1027"/>
              <a:gd name="T49" fmla="*/ 4467 h 772"/>
              <a:gd name="T50" fmla="*/ 7217 w 1027"/>
              <a:gd name="T51" fmla="*/ 4564 h 772"/>
              <a:gd name="T52" fmla="*/ 7272 w 1027"/>
              <a:gd name="T53" fmla="*/ 4752 h 772"/>
              <a:gd name="T54" fmla="*/ 7368 w 1027"/>
              <a:gd name="T55" fmla="*/ 4897 h 772"/>
              <a:gd name="T56" fmla="*/ 7471 w 1027"/>
              <a:gd name="T57" fmla="*/ 5081 h 772"/>
              <a:gd name="T58" fmla="*/ 7391 w 1027"/>
              <a:gd name="T59" fmla="*/ 5229 h 772"/>
              <a:gd name="T60" fmla="*/ 7120 w 1027"/>
              <a:gd name="T61" fmla="*/ 5311 h 772"/>
              <a:gd name="T62" fmla="*/ 6941 w 1027"/>
              <a:gd name="T63" fmla="*/ 5366 h 772"/>
              <a:gd name="T64" fmla="*/ 6614 w 1027"/>
              <a:gd name="T65" fmla="*/ 5358 h 772"/>
              <a:gd name="T66" fmla="*/ 6380 w 1027"/>
              <a:gd name="T67" fmla="*/ 5530 h 772"/>
              <a:gd name="T68" fmla="*/ 6163 w 1027"/>
              <a:gd name="T69" fmla="*/ 5610 h 772"/>
              <a:gd name="T70" fmla="*/ 5976 w 1027"/>
              <a:gd name="T71" fmla="*/ 5621 h 772"/>
              <a:gd name="T72" fmla="*/ 5784 w 1027"/>
              <a:gd name="T73" fmla="*/ 5676 h 772"/>
              <a:gd name="T74" fmla="*/ 5597 w 1027"/>
              <a:gd name="T75" fmla="*/ 5717 h 772"/>
              <a:gd name="T76" fmla="*/ 5452 w 1027"/>
              <a:gd name="T77" fmla="*/ 5755 h 772"/>
              <a:gd name="T78" fmla="*/ 5227 w 1027"/>
              <a:gd name="T79" fmla="*/ 5704 h 772"/>
              <a:gd name="T80" fmla="*/ 4856 w 1027"/>
              <a:gd name="T81" fmla="*/ 5712 h 772"/>
              <a:gd name="T82" fmla="*/ 4693 w 1027"/>
              <a:gd name="T83" fmla="*/ 5693 h 772"/>
              <a:gd name="T84" fmla="*/ 4564 w 1027"/>
              <a:gd name="T85" fmla="*/ 5621 h 772"/>
              <a:gd name="T86" fmla="*/ 4238 w 1027"/>
              <a:gd name="T87" fmla="*/ 5538 h 772"/>
              <a:gd name="T88" fmla="*/ 4087 w 1027"/>
              <a:gd name="T89" fmla="*/ 5538 h 772"/>
              <a:gd name="T90" fmla="*/ 3865 w 1027"/>
              <a:gd name="T91" fmla="*/ 5505 h 772"/>
              <a:gd name="T92" fmla="*/ 3686 w 1027"/>
              <a:gd name="T93" fmla="*/ 5538 h 772"/>
              <a:gd name="T94" fmla="*/ 3498 w 1027"/>
              <a:gd name="T95" fmla="*/ 5484 h 772"/>
              <a:gd name="T96" fmla="*/ 3131 w 1027"/>
              <a:gd name="T97" fmla="*/ 5517 h 772"/>
              <a:gd name="T98" fmla="*/ 2721 w 1027"/>
              <a:gd name="T99" fmla="*/ 5562 h 772"/>
              <a:gd name="T100" fmla="*/ 2277 w 1027"/>
              <a:gd name="T101" fmla="*/ 5583 h 772"/>
              <a:gd name="T102" fmla="*/ 1697 w 1027"/>
              <a:gd name="T103" fmla="*/ 5575 h 772"/>
              <a:gd name="T104" fmla="*/ 1228 w 1027"/>
              <a:gd name="T105" fmla="*/ 5545 h 772"/>
              <a:gd name="T106" fmla="*/ 974 w 1027"/>
              <a:gd name="T107" fmla="*/ 5530 h 772"/>
              <a:gd name="T108" fmla="*/ 756 w 1027"/>
              <a:gd name="T109" fmla="*/ 5575 h 772"/>
              <a:gd name="T110" fmla="*/ 484 w 1027"/>
              <a:gd name="T111" fmla="*/ 5562 h 772"/>
              <a:gd name="T112" fmla="*/ 250 w 1027"/>
              <a:gd name="T113" fmla="*/ 5545 h 772"/>
              <a:gd name="T114" fmla="*/ 0 w 1027"/>
              <a:gd name="T115" fmla="*/ 5583 h 772"/>
              <a:gd name="T116" fmla="*/ 0 w 1027"/>
              <a:gd name="T117" fmla="*/ 0 h 772"/>
              <a:gd name="T118" fmla="*/ 7610 w 1027"/>
              <a:gd name="T119" fmla="*/ 8 h 7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27"/>
              <a:gd name="T181" fmla="*/ 0 h 772"/>
              <a:gd name="T182" fmla="*/ 1027 w 1027"/>
              <a:gd name="T183" fmla="*/ 772 h 7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27" h="772">
                <a:moveTo>
                  <a:pt x="1009" y="1"/>
                </a:moveTo>
                <a:cubicBezTo>
                  <a:pt x="1009" y="1"/>
                  <a:pt x="1027" y="15"/>
                  <a:pt x="1017" y="32"/>
                </a:cubicBezTo>
                <a:cubicBezTo>
                  <a:pt x="1008" y="48"/>
                  <a:pt x="1022" y="68"/>
                  <a:pt x="1022" y="68"/>
                </a:cubicBezTo>
                <a:cubicBezTo>
                  <a:pt x="1019" y="92"/>
                  <a:pt x="1019" y="92"/>
                  <a:pt x="1019" y="92"/>
                </a:cubicBezTo>
                <a:cubicBezTo>
                  <a:pt x="1008" y="134"/>
                  <a:pt x="1008" y="134"/>
                  <a:pt x="1008" y="134"/>
                </a:cubicBezTo>
                <a:cubicBezTo>
                  <a:pt x="1013" y="151"/>
                  <a:pt x="1013" y="151"/>
                  <a:pt x="1013" y="151"/>
                </a:cubicBezTo>
                <a:cubicBezTo>
                  <a:pt x="1013" y="151"/>
                  <a:pt x="996" y="189"/>
                  <a:pt x="998" y="192"/>
                </a:cubicBezTo>
                <a:cubicBezTo>
                  <a:pt x="1001" y="196"/>
                  <a:pt x="1003" y="216"/>
                  <a:pt x="1003" y="216"/>
                </a:cubicBezTo>
                <a:cubicBezTo>
                  <a:pt x="979" y="228"/>
                  <a:pt x="979" y="228"/>
                  <a:pt x="979" y="228"/>
                </a:cubicBezTo>
                <a:cubicBezTo>
                  <a:pt x="979" y="228"/>
                  <a:pt x="971" y="243"/>
                  <a:pt x="974" y="255"/>
                </a:cubicBezTo>
                <a:cubicBezTo>
                  <a:pt x="978" y="268"/>
                  <a:pt x="981" y="280"/>
                  <a:pt x="981" y="280"/>
                </a:cubicBezTo>
                <a:cubicBezTo>
                  <a:pt x="971" y="297"/>
                  <a:pt x="971" y="297"/>
                  <a:pt x="971" y="297"/>
                </a:cubicBezTo>
                <a:cubicBezTo>
                  <a:pt x="973" y="324"/>
                  <a:pt x="973" y="324"/>
                  <a:pt x="973" y="324"/>
                </a:cubicBezTo>
                <a:cubicBezTo>
                  <a:pt x="970" y="354"/>
                  <a:pt x="970" y="354"/>
                  <a:pt x="970" y="354"/>
                </a:cubicBezTo>
                <a:cubicBezTo>
                  <a:pt x="961" y="368"/>
                  <a:pt x="961" y="368"/>
                  <a:pt x="961" y="368"/>
                </a:cubicBezTo>
                <a:cubicBezTo>
                  <a:pt x="964" y="401"/>
                  <a:pt x="964" y="401"/>
                  <a:pt x="964" y="401"/>
                </a:cubicBezTo>
                <a:cubicBezTo>
                  <a:pt x="960" y="424"/>
                  <a:pt x="960" y="424"/>
                  <a:pt x="960" y="424"/>
                </a:cubicBezTo>
                <a:cubicBezTo>
                  <a:pt x="967" y="447"/>
                  <a:pt x="967" y="447"/>
                  <a:pt x="967" y="447"/>
                </a:cubicBezTo>
                <a:cubicBezTo>
                  <a:pt x="954" y="469"/>
                  <a:pt x="954" y="469"/>
                  <a:pt x="954" y="469"/>
                </a:cubicBezTo>
                <a:cubicBezTo>
                  <a:pt x="951" y="496"/>
                  <a:pt x="951" y="496"/>
                  <a:pt x="951" y="496"/>
                </a:cubicBezTo>
                <a:cubicBezTo>
                  <a:pt x="943" y="510"/>
                  <a:pt x="943" y="510"/>
                  <a:pt x="943" y="510"/>
                </a:cubicBezTo>
                <a:cubicBezTo>
                  <a:pt x="948" y="527"/>
                  <a:pt x="948" y="527"/>
                  <a:pt x="948" y="527"/>
                </a:cubicBezTo>
                <a:cubicBezTo>
                  <a:pt x="942" y="536"/>
                  <a:pt x="942" y="536"/>
                  <a:pt x="942" y="536"/>
                </a:cubicBezTo>
                <a:cubicBezTo>
                  <a:pt x="942" y="536"/>
                  <a:pt x="927" y="540"/>
                  <a:pt x="941" y="568"/>
                </a:cubicBezTo>
                <a:cubicBezTo>
                  <a:pt x="954" y="596"/>
                  <a:pt x="949" y="593"/>
                  <a:pt x="949" y="593"/>
                </a:cubicBezTo>
                <a:cubicBezTo>
                  <a:pt x="957" y="606"/>
                  <a:pt x="957" y="606"/>
                  <a:pt x="957" y="606"/>
                </a:cubicBezTo>
                <a:cubicBezTo>
                  <a:pt x="964" y="631"/>
                  <a:pt x="964" y="631"/>
                  <a:pt x="964" y="631"/>
                </a:cubicBezTo>
                <a:cubicBezTo>
                  <a:pt x="964" y="631"/>
                  <a:pt x="970" y="647"/>
                  <a:pt x="977" y="650"/>
                </a:cubicBezTo>
                <a:cubicBezTo>
                  <a:pt x="985" y="654"/>
                  <a:pt x="990" y="674"/>
                  <a:pt x="990" y="674"/>
                </a:cubicBezTo>
                <a:cubicBezTo>
                  <a:pt x="990" y="674"/>
                  <a:pt x="984" y="696"/>
                  <a:pt x="980" y="694"/>
                </a:cubicBezTo>
                <a:cubicBezTo>
                  <a:pt x="975" y="691"/>
                  <a:pt x="944" y="705"/>
                  <a:pt x="944" y="705"/>
                </a:cubicBezTo>
                <a:cubicBezTo>
                  <a:pt x="944" y="705"/>
                  <a:pt x="924" y="714"/>
                  <a:pt x="920" y="712"/>
                </a:cubicBezTo>
                <a:cubicBezTo>
                  <a:pt x="916" y="710"/>
                  <a:pt x="896" y="697"/>
                  <a:pt x="877" y="711"/>
                </a:cubicBezTo>
                <a:cubicBezTo>
                  <a:pt x="857" y="726"/>
                  <a:pt x="846" y="734"/>
                  <a:pt x="846" y="734"/>
                </a:cubicBezTo>
                <a:cubicBezTo>
                  <a:pt x="817" y="745"/>
                  <a:pt x="817" y="745"/>
                  <a:pt x="817" y="745"/>
                </a:cubicBezTo>
                <a:cubicBezTo>
                  <a:pt x="792" y="746"/>
                  <a:pt x="792" y="746"/>
                  <a:pt x="792" y="746"/>
                </a:cubicBezTo>
                <a:cubicBezTo>
                  <a:pt x="792" y="746"/>
                  <a:pt x="789" y="740"/>
                  <a:pt x="767" y="753"/>
                </a:cubicBezTo>
                <a:cubicBezTo>
                  <a:pt x="744" y="766"/>
                  <a:pt x="742" y="759"/>
                  <a:pt x="742" y="759"/>
                </a:cubicBezTo>
                <a:cubicBezTo>
                  <a:pt x="723" y="764"/>
                  <a:pt x="723" y="764"/>
                  <a:pt x="723" y="764"/>
                </a:cubicBezTo>
                <a:cubicBezTo>
                  <a:pt x="693" y="757"/>
                  <a:pt x="693" y="757"/>
                  <a:pt x="693" y="757"/>
                </a:cubicBezTo>
                <a:cubicBezTo>
                  <a:pt x="693" y="757"/>
                  <a:pt x="666" y="745"/>
                  <a:pt x="644" y="758"/>
                </a:cubicBezTo>
                <a:cubicBezTo>
                  <a:pt x="621" y="772"/>
                  <a:pt x="622" y="756"/>
                  <a:pt x="622" y="756"/>
                </a:cubicBezTo>
                <a:cubicBezTo>
                  <a:pt x="605" y="746"/>
                  <a:pt x="605" y="746"/>
                  <a:pt x="605" y="746"/>
                </a:cubicBezTo>
                <a:cubicBezTo>
                  <a:pt x="605" y="746"/>
                  <a:pt x="580" y="723"/>
                  <a:pt x="562" y="735"/>
                </a:cubicBezTo>
                <a:cubicBezTo>
                  <a:pt x="545" y="747"/>
                  <a:pt x="547" y="739"/>
                  <a:pt x="542" y="735"/>
                </a:cubicBezTo>
                <a:cubicBezTo>
                  <a:pt x="536" y="732"/>
                  <a:pt x="519" y="722"/>
                  <a:pt x="512" y="731"/>
                </a:cubicBezTo>
                <a:cubicBezTo>
                  <a:pt x="504" y="740"/>
                  <a:pt x="489" y="735"/>
                  <a:pt x="489" y="735"/>
                </a:cubicBezTo>
                <a:cubicBezTo>
                  <a:pt x="464" y="728"/>
                  <a:pt x="464" y="728"/>
                  <a:pt x="464" y="728"/>
                </a:cubicBezTo>
                <a:cubicBezTo>
                  <a:pt x="415" y="732"/>
                  <a:pt x="415" y="732"/>
                  <a:pt x="415" y="732"/>
                </a:cubicBezTo>
                <a:cubicBezTo>
                  <a:pt x="361" y="738"/>
                  <a:pt x="361" y="738"/>
                  <a:pt x="361" y="738"/>
                </a:cubicBezTo>
                <a:cubicBezTo>
                  <a:pt x="302" y="741"/>
                  <a:pt x="302" y="741"/>
                  <a:pt x="302" y="741"/>
                </a:cubicBezTo>
                <a:cubicBezTo>
                  <a:pt x="225" y="740"/>
                  <a:pt x="225" y="740"/>
                  <a:pt x="225" y="740"/>
                </a:cubicBezTo>
                <a:cubicBezTo>
                  <a:pt x="163" y="736"/>
                  <a:pt x="163" y="736"/>
                  <a:pt x="163" y="736"/>
                </a:cubicBezTo>
                <a:cubicBezTo>
                  <a:pt x="129" y="734"/>
                  <a:pt x="129" y="734"/>
                  <a:pt x="129" y="734"/>
                </a:cubicBezTo>
                <a:cubicBezTo>
                  <a:pt x="100" y="740"/>
                  <a:pt x="100" y="740"/>
                  <a:pt x="100" y="740"/>
                </a:cubicBezTo>
                <a:cubicBezTo>
                  <a:pt x="64" y="738"/>
                  <a:pt x="64" y="738"/>
                  <a:pt x="64" y="738"/>
                </a:cubicBezTo>
                <a:cubicBezTo>
                  <a:pt x="33" y="736"/>
                  <a:pt x="33" y="736"/>
                  <a:pt x="33" y="736"/>
                </a:cubicBezTo>
                <a:cubicBezTo>
                  <a:pt x="0" y="741"/>
                  <a:pt x="0" y="741"/>
                  <a:pt x="0" y="741"/>
                </a:cubicBezTo>
                <a:cubicBezTo>
                  <a:pt x="0" y="0"/>
                  <a:pt x="0" y="0"/>
                  <a:pt x="0" y="0"/>
                </a:cubicBezTo>
                <a:lnTo>
                  <a:pt x="1009" y="1"/>
                </a:lnTo>
                <a:close/>
              </a:path>
            </a:pathLst>
          </a:custGeom>
          <a:solidFill>
            <a:srgbClr val="808080">
              <a:lumMod val="20000"/>
              <a:lumOff val="80000"/>
            </a:srgbClr>
          </a:solidFill>
          <a:ln w="6350">
            <a:solidFill>
              <a:srgbClr val="91B0FF">
                <a:alpha val="75000"/>
              </a:srgbClr>
            </a:solidFill>
            <a:miter lim="800000"/>
            <a:headEnd/>
            <a:tailEnd/>
          </a:ln>
          <a:effectLst>
            <a:outerShdw blurRad="50800" dist="38100" dir="2700000" algn="tl" rotWithShape="0">
              <a:prstClr val="black">
                <a:alpha val="40000"/>
              </a:prstClr>
            </a:outerShdw>
          </a:effectLst>
        </p:spPr>
        <p:txBody>
          <a:bodyPr/>
          <a:lstStyle/>
          <a:p>
            <a:pPr lvl="0" indent="339725" defTabSz="914400">
              <a:lnSpc>
                <a:spcPct val="90000"/>
              </a:lnSpc>
              <a:defRPr/>
            </a:pPr>
            <a:endParaRPr lang="en-US" sz="1400" kern="0" dirty="0">
              <a:solidFill>
                <a:sysClr val="windowText" lastClr="000000"/>
              </a:solidFill>
            </a:endParaRPr>
          </a:p>
        </p:txBody>
      </p:sp>
      <p:sp>
        <p:nvSpPr>
          <p:cNvPr id="31" name="Pentagon 30"/>
          <p:cNvSpPr/>
          <p:nvPr/>
        </p:nvSpPr>
        <p:spPr>
          <a:xfrm rot="16200000">
            <a:off x="-248644" y="1775763"/>
            <a:ext cx="1432635" cy="585582"/>
          </a:xfrm>
          <a:prstGeom prst="homePlate">
            <a:avLst>
              <a:gd name="adj" fmla="val 19760"/>
            </a:avLst>
          </a:prstGeom>
          <a:solidFill>
            <a:srgbClr val="002960"/>
          </a:solidFill>
          <a:ln w="6350">
            <a:noFill/>
            <a:miter lim="800000"/>
            <a:headEnd/>
            <a:tailEnd/>
          </a:ln>
        </p:spPr>
        <p:txBody>
          <a:bodyPr lIns="72000" tIns="72000" rIns="7200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lang="en-US" sz="1300" b="1" kern="0" noProof="0" dirty="0">
                <a:solidFill>
                  <a:srgbClr val="FFFFFF"/>
                </a:solidFill>
                <a:latin typeface="Arial"/>
                <a:cs typeface="Arial" pitchFamily="34" charset="0"/>
              </a:rPr>
              <a:t>Factor costs </a:t>
            </a:r>
            <a:endParaRPr kumimoji="0" lang="en-US" sz="1300" b="1" i="0" u="none" strike="noStrike" kern="0" cap="none" spc="0" normalizeH="0" baseline="0" noProof="0" dirty="0">
              <a:ln>
                <a:noFill/>
              </a:ln>
              <a:solidFill>
                <a:srgbClr val="FFFFFF"/>
              </a:solidFill>
              <a:effectLst/>
              <a:uLnTx/>
              <a:uFillTx/>
              <a:latin typeface="Arial"/>
              <a:cs typeface="Arial" pitchFamily="34" charset="0"/>
            </a:endParaRPr>
          </a:p>
        </p:txBody>
      </p:sp>
      <p:sp>
        <p:nvSpPr>
          <p:cNvPr id="32" name="TextBox 31"/>
          <p:cNvSpPr txBox="1"/>
          <p:nvPr/>
        </p:nvSpPr>
        <p:spPr>
          <a:xfrm>
            <a:off x="804054" y="1917631"/>
            <a:ext cx="2753672" cy="738664"/>
          </a:xfrm>
          <a:prstGeom prst="rect">
            <a:avLst/>
          </a:prstGeom>
          <a:noFill/>
        </p:spPr>
        <p:txBody>
          <a:bodyPr wrap="square" rtlCol="0">
            <a:spAutoFit/>
          </a:bodyPr>
          <a:lstStyle/>
          <a:p>
            <a:r>
              <a:rPr lang="ru-RU" sz="1400" b="1" dirty="0" err="1"/>
              <a:t>Неквалифиц</a:t>
            </a:r>
            <a:r>
              <a:rPr lang="ru-RU" sz="1400" b="1" dirty="0"/>
              <a:t>. труд</a:t>
            </a:r>
            <a:r>
              <a:rPr lang="en-US" sz="1400" b="1" dirty="0"/>
              <a:t>: </a:t>
            </a:r>
            <a:r>
              <a:rPr lang="en-US" sz="1400" dirty="0"/>
              <a:t>1.5</a:t>
            </a:r>
            <a:r>
              <a:rPr lang="ru-RU" sz="1400" dirty="0"/>
              <a:t>-</a:t>
            </a:r>
            <a:r>
              <a:rPr lang="en-US" sz="1400" dirty="0"/>
              <a:t>2.0 $/</a:t>
            </a:r>
            <a:r>
              <a:rPr lang="ru-RU" sz="1400" dirty="0"/>
              <a:t>день</a:t>
            </a:r>
            <a:endParaRPr lang="en-US" sz="1400" dirty="0"/>
          </a:p>
          <a:p>
            <a:r>
              <a:rPr lang="ru-RU" sz="1400" b="1" dirty="0"/>
              <a:t>Тариф на </a:t>
            </a:r>
            <a:r>
              <a:rPr lang="ru-RU" sz="1400" b="1" dirty="0" err="1"/>
              <a:t>эл.энергию</a:t>
            </a:r>
            <a:r>
              <a:rPr lang="en-US" sz="1400" b="1" dirty="0"/>
              <a:t>*: </a:t>
            </a:r>
            <a:r>
              <a:rPr lang="en-US" sz="1400" dirty="0"/>
              <a:t>12 </a:t>
            </a:r>
            <a:r>
              <a:rPr lang="en-US" sz="1400" dirty="0">
                <a:solidFill>
                  <a:srgbClr val="1A1A1A"/>
                </a:solidFill>
                <a:latin typeface="ArialMT"/>
              </a:rPr>
              <a:t>¢</a:t>
            </a:r>
            <a:r>
              <a:rPr lang="en-US" sz="1400" dirty="0">
                <a:solidFill>
                  <a:srgbClr val="1A1A1A"/>
                </a:solidFill>
              </a:rPr>
              <a:t>/kWh</a:t>
            </a:r>
            <a:r>
              <a:rPr lang="en-US" sz="1400" dirty="0">
                <a:solidFill>
                  <a:srgbClr val="000000"/>
                </a:solidFill>
              </a:rPr>
              <a:t> </a:t>
            </a:r>
          </a:p>
          <a:p>
            <a:r>
              <a:rPr lang="ru-RU" sz="1400" b="1" dirty="0">
                <a:solidFill>
                  <a:srgbClr val="000000"/>
                </a:solidFill>
              </a:rPr>
              <a:t>Фрахтовая ставка</a:t>
            </a:r>
            <a:r>
              <a:rPr lang="en-US" sz="1400" b="1" dirty="0">
                <a:solidFill>
                  <a:srgbClr val="000000"/>
                </a:solidFill>
              </a:rPr>
              <a:t>**: </a:t>
            </a:r>
            <a:r>
              <a:rPr lang="en-US" sz="1400" dirty="0">
                <a:solidFill>
                  <a:srgbClr val="000000"/>
                </a:solidFill>
              </a:rPr>
              <a:t>1.8 $/</a:t>
            </a:r>
            <a:r>
              <a:rPr lang="ru-RU" sz="1400" dirty="0">
                <a:solidFill>
                  <a:srgbClr val="000000"/>
                </a:solidFill>
              </a:rPr>
              <a:t>кг</a:t>
            </a:r>
            <a:endParaRPr lang="en-US" sz="1400" b="1" dirty="0"/>
          </a:p>
        </p:txBody>
      </p:sp>
      <p:sp>
        <p:nvSpPr>
          <p:cNvPr id="33" name="TextBox 32"/>
          <p:cNvSpPr txBox="1"/>
          <p:nvPr/>
        </p:nvSpPr>
        <p:spPr>
          <a:xfrm>
            <a:off x="3554405" y="1837103"/>
            <a:ext cx="2651391" cy="1015663"/>
          </a:xfrm>
          <a:prstGeom prst="rect">
            <a:avLst/>
          </a:prstGeom>
          <a:noFill/>
        </p:spPr>
        <p:txBody>
          <a:bodyPr wrap="square" rtlCol="0">
            <a:spAutoFit/>
          </a:bodyPr>
          <a:lstStyle/>
          <a:p>
            <a:r>
              <a:rPr lang="ru-RU" sz="1400" b="1" dirty="0" err="1"/>
              <a:t>Неквалифиц</a:t>
            </a:r>
            <a:r>
              <a:rPr lang="ru-RU" sz="1400" b="1" dirty="0"/>
              <a:t>. труд</a:t>
            </a:r>
            <a:r>
              <a:rPr lang="en-US" sz="1400" b="1" dirty="0"/>
              <a:t>: </a:t>
            </a:r>
            <a:r>
              <a:rPr lang="en-US" sz="1400" dirty="0"/>
              <a:t>1.86 $/</a:t>
            </a:r>
            <a:r>
              <a:rPr lang="ru-RU" sz="1400" dirty="0"/>
              <a:t>день</a:t>
            </a:r>
            <a:endParaRPr lang="en-US" sz="1400" dirty="0"/>
          </a:p>
          <a:p>
            <a:r>
              <a:rPr lang="ru-RU" sz="1400" b="1" dirty="0"/>
              <a:t>Тариф на </a:t>
            </a:r>
            <a:r>
              <a:rPr lang="ru-RU" sz="1400" b="1" dirty="0" err="1"/>
              <a:t>эл.энергию</a:t>
            </a:r>
            <a:r>
              <a:rPr lang="en-US" sz="1400" b="1" dirty="0"/>
              <a:t>: </a:t>
            </a:r>
          </a:p>
          <a:p>
            <a:r>
              <a:rPr lang="ru-RU" sz="1400" b="1" dirty="0">
                <a:solidFill>
                  <a:srgbClr val="000000"/>
                </a:solidFill>
              </a:rPr>
              <a:t>Фрахтовая ставка</a:t>
            </a:r>
            <a:r>
              <a:rPr lang="en-US" sz="1400" b="1" dirty="0"/>
              <a:t>: </a:t>
            </a:r>
            <a:r>
              <a:rPr lang="en-US" sz="1400" dirty="0"/>
              <a:t>1.5 $/</a:t>
            </a:r>
            <a:r>
              <a:rPr lang="ru-RU" sz="1400" dirty="0"/>
              <a:t>кг</a:t>
            </a:r>
            <a:r>
              <a:rPr lang="en-US" sz="1400" b="1" dirty="0"/>
              <a:t>	</a:t>
            </a:r>
          </a:p>
          <a:p>
            <a:endParaRPr lang="en-US" dirty="0"/>
          </a:p>
        </p:txBody>
      </p:sp>
      <p:sp>
        <p:nvSpPr>
          <p:cNvPr id="37" name="Freeform 38" descr="textur5"/>
          <p:cNvSpPr>
            <a:spLocks/>
          </p:cNvSpPr>
          <p:nvPr/>
        </p:nvSpPr>
        <p:spPr bwMode="auto">
          <a:xfrm>
            <a:off x="856927" y="3087521"/>
            <a:ext cx="2697480" cy="1233087"/>
          </a:xfrm>
          <a:custGeom>
            <a:avLst/>
            <a:gdLst>
              <a:gd name="T0" fmla="*/ 7610 w 1027"/>
              <a:gd name="T1" fmla="*/ 8 h 772"/>
              <a:gd name="T2" fmla="*/ 7668 w 1027"/>
              <a:gd name="T3" fmla="*/ 242 h 772"/>
              <a:gd name="T4" fmla="*/ 7710 w 1027"/>
              <a:gd name="T5" fmla="*/ 514 h 772"/>
              <a:gd name="T6" fmla="*/ 7688 w 1027"/>
              <a:gd name="T7" fmla="*/ 691 h 772"/>
              <a:gd name="T8" fmla="*/ 7605 w 1027"/>
              <a:gd name="T9" fmla="*/ 1011 h 772"/>
              <a:gd name="T10" fmla="*/ 7643 w 1027"/>
              <a:gd name="T11" fmla="*/ 1137 h 772"/>
              <a:gd name="T12" fmla="*/ 7529 w 1027"/>
              <a:gd name="T13" fmla="*/ 1446 h 772"/>
              <a:gd name="T14" fmla="*/ 7564 w 1027"/>
              <a:gd name="T15" fmla="*/ 1627 h 772"/>
              <a:gd name="T16" fmla="*/ 7383 w 1027"/>
              <a:gd name="T17" fmla="*/ 1718 h 772"/>
              <a:gd name="T18" fmla="*/ 7347 w 1027"/>
              <a:gd name="T19" fmla="*/ 1919 h 772"/>
              <a:gd name="T20" fmla="*/ 7401 w 1027"/>
              <a:gd name="T21" fmla="*/ 2111 h 772"/>
              <a:gd name="T22" fmla="*/ 7325 w 1027"/>
              <a:gd name="T23" fmla="*/ 2237 h 772"/>
              <a:gd name="T24" fmla="*/ 7342 w 1027"/>
              <a:gd name="T25" fmla="*/ 2442 h 772"/>
              <a:gd name="T26" fmla="*/ 7320 w 1027"/>
              <a:gd name="T27" fmla="*/ 2666 h 772"/>
              <a:gd name="T28" fmla="*/ 7250 w 1027"/>
              <a:gd name="T29" fmla="*/ 2775 h 772"/>
              <a:gd name="T30" fmla="*/ 7272 w 1027"/>
              <a:gd name="T31" fmla="*/ 3019 h 772"/>
              <a:gd name="T32" fmla="*/ 7242 w 1027"/>
              <a:gd name="T33" fmla="*/ 3193 h 772"/>
              <a:gd name="T34" fmla="*/ 7297 w 1027"/>
              <a:gd name="T35" fmla="*/ 3370 h 772"/>
              <a:gd name="T36" fmla="*/ 7196 w 1027"/>
              <a:gd name="T37" fmla="*/ 3532 h 772"/>
              <a:gd name="T38" fmla="*/ 7174 w 1027"/>
              <a:gd name="T39" fmla="*/ 3738 h 772"/>
              <a:gd name="T40" fmla="*/ 7113 w 1027"/>
              <a:gd name="T41" fmla="*/ 3842 h 772"/>
              <a:gd name="T42" fmla="*/ 7151 w 1027"/>
              <a:gd name="T43" fmla="*/ 3970 h 772"/>
              <a:gd name="T44" fmla="*/ 7105 w 1027"/>
              <a:gd name="T45" fmla="*/ 4037 h 772"/>
              <a:gd name="T46" fmla="*/ 7096 w 1027"/>
              <a:gd name="T47" fmla="*/ 4279 h 772"/>
              <a:gd name="T48" fmla="*/ 7159 w 1027"/>
              <a:gd name="T49" fmla="*/ 4467 h 772"/>
              <a:gd name="T50" fmla="*/ 7217 w 1027"/>
              <a:gd name="T51" fmla="*/ 4564 h 772"/>
              <a:gd name="T52" fmla="*/ 7272 w 1027"/>
              <a:gd name="T53" fmla="*/ 4752 h 772"/>
              <a:gd name="T54" fmla="*/ 7368 w 1027"/>
              <a:gd name="T55" fmla="*/ 4897 h 772"/>
              <a:gd name="T56" fmla="*/ 7471 w 1027"/>
              <a:gd name="T57" fmla="*/ 5081 h 772"/>
              <a:gd name="T58" fmla="*/ 7391 w 1027"/>
              <a:gd name="T59" fmla="*/ 5229 h 772"/>
              <a:gd name="T60" fmla="*/ 7120 w 1027"/>
              <a:gd name="T61" fmla="*/ 5311 h 772"/>
              <a:gd name="T62" fmla="*/ 6941 w 1027"/>
              <a:gd name="T63" fmla="*/ 5366 h 772"/>
              <a:gd name="T64" fmla="*/ 6614 w 1027"/>
              <a:gd name="T65" fmla="*/ 5358 h 772"/>
              <a:gd name="T66" fmla="*/ 6380 w 1027"/>
              <a:gd name="T67" fmla="*/ 5530 h 772"/>
              <a:gd name="T68" fmla="*/ 6163 w 1027"/>
              <a:gd name="T69" fmla="*/ 5610 h 772"/>
              <a:gd name="T70" fmla="*/ 5976 w 1027"/>
              <a:gd name="T71" fmla="*/ 5621 h 772"/>
              <a:gd name="T72" fmla="*/ 5784 w 1027"/>
              <a:gd name="T73" fmla="*/ 5676 h 772"/>
              <a:gd name="T74" fmla="*/ 5597 w 1027"/>
              <a:gd name="T75" fmla="*/ 5717 h 772"/>
              <a:gd name="T76" fmla="*/ 5452 w 1027"/>
              <a:gd name="T77" fmla="*/ 5755 h 772"/>
              <a:gd name="T78" fmla="*/ 5227 w 1027"/>
              <a:gd name="T79" fmla="*/ 5704 h 772"/>
              <a:gd name="T80" fmla="*/ 4856 w 1027"/>
              <a:gd name="T81" fmla="*/ 5712 h 772"/>
              <a:gd name="T82" fmla="*/ 4693 w 1027"/>
              <a:gd name="T83" fmla="*/ 5693 h 772"/>
              <a:gd name="T84" fmla="*/ 4564 w 1027"/>
              <a:gd name="T85" fmla="*/ 5621 h 772"/>
              <a:gd name="T86" fmla="*/ 4238 w 1027"/>
              <a:gd name="T87" fmla="*/ 5538 h 772"/>
              <a:gd name="T88" fmla="*/ 4087 w 1027"/>
              <a:gd name="T89" fmla="*/ 5538 h 772"/>
              <a:gd name="T90" fmla="*/ 3865 w 1027"/>
              <a:gd name="T91" fmla="*/ 5505 h 772"/>
              <a:gd name="T92" fmla="*/ 3686 w 1027"/>
              <a:gd name="T93" fmla="*/ 5538 h 772"/>
              <a:gd name="T94" fmla="*/ 3498 w 1027"/>
              <a:gd name="T95" fmla="*/ 5484 h 772"/>
              <a:gd name="T96" fmla="*/ 3131 w 1027"/>
              <a:gd name="T97" fmla="*/ 5517 h 772"/>
              <a:gd name="T98" fmla="*/ 2721 w 1027"/>
              <a:gd name="T99" fmla="*/ 5562 h 772"/>
              <a:gd name="T100" fmla="*/ 2277 w 1027"/>
              <a:gd name="T101" fmla="*/ 5583 h 772"/>
              <a:gd name="T102" fmla="*/ 1697 w 1027"/>
              <a:gd name="T103" fmla="*/ 5575 h 772"/>
              <a:gd name="T104" fmla="*/ 1228 w 1027"/>
              <a:gd name="T105" fmla="*/ 5545 h 772"/>
              <a:gd name="T106" fmla="*/ 974 w 1027"/>
              <a:gd name="T107" fmla="*/ 5530 h 772"/>
              <a:gd name="T108" fmla="*/ 756 w 1027"/>
              <a:gd name="T109" fmla="*/ 5575 h 772"/>
              <a:gd name="T110" fmla="*/ 484 w 1027"/>
              <a:gd name="T111" fmla="*/ 5562 h 772"/>
              <a:gd name="T112" fmla="*/ 250 w 1027"/>
              <a:gd name="T113" fmla="*/ 5545 h 772"/>
              <a:gd name="T114" fmla="*/ 0 w 1027"/>
              <a:gd name="T115" fmla="*/ 5583 h 772"/>
              <a:gd name="T116" fmla="*/ 0 w 1027"/>
              <a:gd name="T117" fmla="*/ 0 h 772"/>
              <a:gd name="T118" fmla="*/ 7610 w 1027"/>
              <a:gd name="T119" fmla="*/ 8 h 7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27"/>
              <a:gd name="T181" fmla="*/ 0 h 772"/>
              <a:gd name="T182" fmla="*/ 1027 w 1027"/>
              <a:gd name="T183" fmla="*/ 772 h 7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27" h="772">
                <a:moveTo>
                  <a:pt x="1009" y="1"/>
                </a:moveTo>
                <a:cubicBezTo>
                  <a:pt x="1009" y="1"/>
                  <a:pt x="1027" y="15"/>
                  <a:pt x="1017" y="32"/>
                </a:cubicBezTo>
                <a:cubicBezTo>
                  <a:pt x="1008" y="48"/>
                  <a:pt x="1022" y="68"/>
                  <a:pt x="1022" y="68"/>
                </a:cubicBezTo>
                <a:cubicBezTo>
                  <a:pt x="1019" y="92"/>
                  <a:pt x="1019" y="92"/>
                  <a:pt x="1019" y="92"/>
                </a:cubicBezTo>
                <a:cubicBezTo>
                  <a:pt x="1008" y="134"/>
                  <a:pt x="1008" y="134"/>
                  <a:pt x="1008" y="134"/>
                </a:cubicBezTo>
                <a:cubicBezTo>
                  <a:pt x="1013" y="151"/>
                  <a:pt x="1013" y="151"/>
                  <a:pt x="1013" y="151"/>
                </a:cubicBezTo>
                <a:cubicBezTo>
                  <a:pt x="1013" y="151"/>
                  <a:pt x="996" y="189"/>
                  <a:pt x="998" y="192"/>
                </a:cubicBezTo>
                <a:cubicBezTo>
                  <a:pt x="1001" y="196"/>
                  <a:pt x="1003" y="216"/>
                  <a:pt x="1003" y="216"/>
                </a:cubicBezTo>
                <a:cubicBezTo>
                  <a:pt x="979" y="228"/>
                  <a:pt x="979" y="228"/>
                  <a:pt x="979" y="228"/>
                </a:cubicBezTo>
                <a:cubicBezTo>
                  <a:pt x="979" y="228"/>
                  <a:pt x="971" y="243"/>
                  <a:pt x="974" y="255"/>
                </a:cubicBezTo>
                <a:cubicBezTo>
                  <a:pt x="978" y="268"/>
                  <a:pt x="981" y="280"/>
                  <a:pt x="981" y="280"/>
                </a:cubicBezTo>
                <a:cubicBezTo>
                  <a:pt x="971" y="297"/>
                  <a:pt x="971" y="297"/>
                  <a:pt x="971" y="297"/>
                </a:cubicBezTo>
                <a:cubicBezTo>
                  <a:pt x="973" y="324"/>
                  <a:pt x="973" y="324"/>
                  <a:pt x="973" y="324"/>
                </a:cubicBezTo>
                <a:cubicBezTo>
                  <a:pt x="970" y="354"/>
                  <a:pt x="970" y="354"/>
                  <a:pt x="970" y="354"/>
                </a:cubicBezTo>
                <a:cubicBezTo>
                  <a:pt x="961" y="368"/>
                  <a:pt x="961" y="368"/>
                  <a:pt x="961" y="368"/>
                </a:cubicBezTo>
                <a:cubicBezTo>
                  <a:pt x="964" y="401"/>
                  <a:pt x="964" y="401"/>
                  <a:pt x="964" y="401"/>
                </a:cubicBezTo>
                <a:cubicBezTo>
                  <a:pt x="960" y="424"/>
                  <a:pt x="960" y="424"/>
                  <a:pt x="960" y="424"/>
                </a:cubicBezTo>
                <a:cubicBezTo>
                  <a:pt x="967" y="447"/>
                  <a:pt x="967" y="447"/>
                  <a:pt x="967" y="447"/>
                </a:cubicBezTo>
                <a:cubicBezTo>
                  <a:pt x="954" y="469"/>
                  <a:pt x="954" y="469"/>
                  <a:pt x="954" y="469"/>
                </a:cubicBezTo>
                <a:cubicBezTo>
                  <a:pt x="951" y="496"/>
                  <a:pt x="951" y="496"/>
                  <a:pt x="951" y="496"/>
                </a:cubicBezTo>
                <a:cubicBezTo>
                  <a:pt x="943" y="510"/>
                  <a:pt x="943" y="510"/>
                  <a:pt x="943" y="510"/>
                </a:cubicBezTo>
                <a:cubicBezTo>
                  <a:pt x="948" y="527"/>
                  <a:pt x="948" y="527"/>
                  <a:pt x="948" y="527"/>
                </a:cubicBezTo>
                <a:cubicBezTo>
                  <a:pt x="942" y="536"/>
                  <a:pt x="942" y="536"/>
                  <a:pt x="942" y="536"/>
                </a:cubicBezTo>
                <a:cubicBezTo>
                  <a:pt x="942" y="536"/>
                  <a:pt x="927" y="540"/>
                  <a:pt x="941" y="568"/>
                </a:cubicBezTo>
                <a:cubicBezTo>
                  <a:pt x="954" y="596"/>
                  <a:pt x="949" y="593"/>
                  <a:pt x="949" y="593"/>
                </a:cubicBezTo>
                <a:cubicBezTo>
                  <a:pt x="957" y="606"/>
                  <a:pt x="957" y="606"/>
                  <a:pt x="957" y="606"/>
                </a:cubicBezTo>
                <a:cubicBezTo>
                  <a:pt x="964" y="631"/>
                  <a:pt x="964" y="631"/>
                  <a:pt x="964" y="631"/>
                </a:cubicBezTo>
                <a:cubicBezTo>
                  <a:pt x="964" y="631"/>
                  <a:pt x="970" y="647"/>
                  <a:pt x="977" y="650"/>
                </a:cubicBezTo>
                <a:cubicBezTo>
                  <a:pt x="985" y="654"/>
                  <a:pt x="990" y="674"/>
                  <a:pt x="990" y="674"/>
                </a:cubicBezTo>
                <a:cubicBezTo>
                  <a:pt x="990" y="674"/>
                  <a:pt x="984" y="696"/>
                  <a:pt x="980" y="694"/>
                </a:cubicBezTo>
                <a:cubicBezTo>
                  <a:pt x="975" y="691"/>
                  <a:pt x="944" y="705"/>
                  <a:pt x="944" y="705"/>
                </a:cubicBezTo>
                <a:cubicBezTo>
                  <a:pt x="944" y="705"/>
                  <a:pt x="924" y="714"/>
                  <a:pt x="920" y="712"/>
                </a:cubicBezTo>
                <a:cubicBezTo>
                  <a:pt x="916" y="710"/>
                  <a:pt x="896" y="697"/>
                  <a:pt x="877" y="711"/>
                </a:cubicBezTo>
                <a:cubicBezTo>
                  <a:pt x="857" y="726"/>
                  <a:pt x="846" y="734"/>
                  <a:pt x="846" y="734"/>
                </a:cubicBezTo>
                <a:cubicBezTo>
                  <a:pt x="817" y="745"/>
                  <a:pt x="817" y="745"/>
                  <a:pt x="817" y="745"/>
                </a:cubicBezTo>
                <a:cubicBezTo>
                  <a:pt x="792" y="746"/>
                  <a:pt x="792" y="746"/>
                  <a:pt x="792" y="746"/>
                </a:cubicBezTo>
                <a:cubicBezTo>
                  <a:pt x="792" y="746"/>
                  <a:pt x="789" y="740"/>
                  <a:pt x="767" y="753"/>
                </a:cubicBezTo>
                <a:cubicBezTo>
                  <a:pt x="744" y="766"/>
                  <a:pt x="742" y="759"/>
                  <a:pt x="742" y="759"/>
                </a:cubicBezTo>
                <a:cubicBezTo>
                  <a:pt x="723" y="764"/>
                  <a:pt x="723" y="764"/>
                  <a:pt x="723" y="764"/>
                </a:cubicBezTo>
                <a:cubicBezTo>
                  <a:pt x="693" y="757"/>
                  <a:pt x="693" y="757"/>
                  <a:pt x="693" y="757"/>
                </a:cubicBezTo>
                <a:cubicBezTo>
                  <a:pt x="693" y="757"/>
                  <a:pt x="666" y="745"/>
                  <a:pt x="644" y="758"/>
                </a:cubicBezTo>
                <a:cubicBezTo>
                  <a:pt x="621" y="772"/>
                  <a:pt x="622" y="756"/>
                  <a:pt x="622" y="756"/>
                </a:cubicBezTo>
                <a:cubicBezTo>
                  <a:pt x="605" y="746"/>
                  <a:pt x="605" y="746"/>
                  <a:pt x="605" y="746"/>
                </a:cubicBezTo>
                <a:cubicBezTo>
                  <a:pt x="605" y="746"/>
                  <a:pt x="580" y="723"/>
                  <a:pt x="562" y="735"/>
                </a:cubicBezTo>
                <a:cubicBezTo>
                  <a:pt x="545" y="747"/>
                  <a:pt x="547" y="739"/>
                  <a:pt x="542" y="735"/>
                </a:cubicBezTo>
                <a:cubicBezTo>
                  <a:pt x="536" y="732"/>
                  <a:pt x="519" y="722"/>
                  <a:pt x="512" y="731"/>
                </a:cubicBezTo>
                <a:cubicBezTo>
                  <a:pt x="504" y="740"/>
                  <a:pt x="489" y="735"/>
                  <a:pt x="489" y="735"/>
                </a:cubicBezTo>
                <a:cubicBezTo>
                  <a:pt x="464" y="728"/>
                  <a:pt x="464" y="728"/>
                  <a:pt x="464" y="728"/>
                </a:cubicBezTo>
                <a:cubicBezTo>
                  <a:pt x="415" y="732"/>
                  <a:pt x="415" y="732"/>
                  <a:pt x="415" y="732"/>
                </a:cubicBezTo>
                <a:cubicBezTo>
                  <a:pt x="361" y="738"/>
                  <a:pt x="361" y="738"/>
                  <a:pt x="361" y="738"/>
                </a:cubicBezTo>
                <a:cubicBezTo>
                  <a:pt x="302" y="741"/>
                  <a:pt x="302" y="741"/>
                  <a:pt x="302" y="741"/>
                </a:cubicBezTo>
                <a:cubicBezTo>
                  <a:pt x="225" y="740"/>
                  <a:pt x="225" y="740"/>
                  <a:pt x="225" y="740"/>
                </a:cubicBezTo>
                <a:cubicBezTo>
                  <a:pt x="163" y="736"/>
                  <a:pt x="163" y="736"/>
                  <a:pt x="163" y="736"/>
                </a:cubicBezTo>
                <a:cubicBezTo>
                  <a:pt x="129" y="734"/>
                  <a:pt x="129" y="734"/>
                  <a:pt x="129" y="734"/>
                </a:cubicBezTo>
                <a:cubicBezTo>
                  <a:pt x="100" y="740"/>
                  <a:pt x="100" y="740"/>
                  <a:pt x="100" y="740"/>
                </a:cubicBezTo>
                <a:cubicBezTo>
                  <a:pt x="64" y="738"/>
                  <a:pt x="64" y="738"/>
                  <a:pt x="64" y="738"/>
                </a:cubicBezTo>
                <a:cubicBezTo>
                  <a:pt x="33" y="736"/>
                  <a:pt x="33" y="736"/>
                  <a:pt x="33" y="736"/>
                </a:cubicBezTo>
                <a:cubicBezTo>
                  <a:pt x="0" y="741"/>
                  <a:pt x="0" y="741"/>
                  <a:pt x="0" y="741"/>
                </a:cubicBezTo>
                <a:cubicBezTo>
                  <a:pt x="0" y="0"/>
                  <a:pt x="0" y="0"/>
                  <a:pt x="0" y="0"/>
                </a:cubicBezTo>
                <a:lnTo>
                  <a:pt x="1009" y="1"/>
                </a:lnTo>
                <a:close/>
              </a:path>
            </a:pathLst>
          </a:custGeom>
          <a:solidFill>
            <a:srgbClr val="808080">
              <a:lumMod val="20000"/>
              <a:lumOff val="80000"/>
            </a:srgbClr>
          </a:solidFill>
          <a:ln w="6350">
            <a:solidFill>
              <a:srgbClr val="91B0FF">
                <a:alpha val="75000"/>
              </a:srgbClr>
            </a:solidFill>
            <a:miter lim="800000"/>
            <a:headEnd/>
            <a:tailEnd/>
          </a:ln>
          <a:effectLst>
            <a:outerShdw blurRad="50800" dist="38100" dir="2700000" algn="tl" rotWithShape="0">
              <a:prstClr val="black">
                <a:alpha val="40000"/>
              </a:prstClr>
            </a:outerShdw>
          </a:effectLst>
        </p:spPr>
        <p:txBody>
          <a:bodyPr/>
          <a:lstStyle/>
          <a:p>
            <a:r>
              <a:rPr lang="en-US" sz="1400" dirty="0"/>
              <a:t>                      </a:t>
            </a:r>
          </a:p>
        </p:txBody>
      </p:sp>
      <p:sp>
        <p:nvSpPr>
          <p:cNvPr id="39" name="Freeform 38" descr="textur5"/>
          <p:cNvSpPr>
            <a:spLocks/>
          </p:cNvSpPr>
          <p:nvPr/>
        </p:nvSpPr>
        <p:spPr bwMode="auto">
          <a:xfrm>
            <a:off x="3557726" y="4549859"/>
            <a:ext cx="2697480" cy="1233087"/>
          </a:xfrm>
          <a:custGeom>
            <a:avLst/>
            <a:gdLst>
              <a:gd name="T0" fmla="*/ 7610 w 1027"/>
              <a:gd name="T1" fmla="*/ 8 h 772"/>
              <a:gd name="T2" fmla="*/ 7668 w 1027"/>
              <a:gd name="T3" fmla="*/ 242 h 772"/>
              <a:gd name="T4" fmla="*/ 7710 w 1027"/>
              <a:gd name="T5" fmla="*/ 514 h 772"/>
              <a:gd name="T6" fmla="*/ 7688 w 1027"/>
              <a:gd name="T7" fmla="*/ 691 h 772"/>
              <a:gd name="T8" fmla="*/ 7605 w 1027"/>
              <a:gd name="T9" fmla="*/ 1011 h 772"/>
              <a:gd name="T10" fmla="*/ 7643 w 1027"/>
              <a:gd name="T11" fmla="*/ 1137 h 772"/>
              <a:gd name="T12" fmla="*/ 7529 w 1027"/>
              <a:gd name="T13" fmla="*/ 1446 h 772"/>
              <a:gd name="T14" fmla="*/ 7564 w 1027"/>
              <a:gd name="T15" fmla="*/ 1627 h 772"/>
              <a:gd name="T16" fmla="*/ 7383 w 1027"/>
              <a:gd name="T17" fmla="*/ 1718 h 772"/>
              <a:gd name="T18" fmla="*/ 7347 w 1027"/>
              <a:gd name="T19" fmla="*/ 1919 h 772"/>
              <a:gd name="T20" fmla="*/ 7401 w 1027"/>
              <a:gd name="T21" fmla="*/ 2111 h 772"/>
              <a:gd name="T22" fmla="*/ 7325 w 1027"/>
              <a:gd name="T23" fmla="*/ 2237 h 772"/>
              <a:gd name="T24" fmla="*/ 7342 w 1027"/>
              <a:gd name="T25" fmla="*/ 2442 h 772"/>
              <a:gd name="T26" fmla="*/ 7320 w 1027"/>
              <a:gd name="T27" fmla="*/ 2666 h 772"/>
              <a:gd name="T28" fmla="*/ 7250 w 1027"/>
              <a:gd name="T29" fmla="*/ 2775 h 772"/>
              <a:gd name="T30" fmla="*/ 7272 w 1027"/>
              <a:gd name="T31" fmla="*/ 3019 h 772"/>
              <a:gd name="T32" fmla="*/ 7242 w 1027"/>
              <a:gd name="T33" fmla="*/ 3193 h 772"/>
              <a:gd name="T34" fmla="*/ 7297 w 1027"/>
              <a:gd name="T35" fmla="*/ 3370 h 772"/>
              <a:gd name="T36" fmla="*/ 7196 w 1027"/>
              <a:gd name="T37" fmla="*/ 3532 h 772"/>
              <a:gd name="T38" fmla="*/ 7174 w 1027"/>
              <a:gd name="T39" fmla="*/ 3738 h 772"/>
              <a:gd name="T40" fmla="*/ 7113 w 1027"/>
              <a:gd name="T41" fmla="*/ 3842 h 772"/>
              <a:gd name="T42" fmla="*/ 7151 w 1027"/>
              <a:gd name="T43" fmla="*/ 3970 h 772"/>
              <a:gd name="T44" fmla="*/ 7105 w 1027"/>
              <a:gd name="T45" fmla="*/ 4037 h 772"/>
              <a:gd name="T46" fmla="*/ 7096 w 1027"/>
              <a:gd name="T47" fmla="*/ 4279 h 772"/>
              <a:gd name="T48" fmla="*/ 7159 w 1027"/>
              <a:gd name="T49" fmla="*/ 4467 h 772"/>
              <a:gd name="T50" fmla="*/ 7217 w 1027"/>
              <a:gd name="T51" fmla="*/ 4564 h 772"/>
              <a:gd name="T52" fmla="*/ 7272 w 1027"/>
              <a:gd name="T53" fmla="*/ 4752 h 772"/>
              <a:gd name="T54" fmla="*/ 7368 w 1027"/>
              <a:gd name="T55" fmla="*/ 4897 h 772"/>
              <a:gd name="T56" fmla="*/ 7471 w 1027"/>
              <a:gd name="T57" fmla="*/ 5081 h 772"/>
              <a:gd name="T58" fmla="*/ 7391 w 1027"/>
              <a:gd name="T59" fmla="*/ 5229 h 772"/>
              <a:gd name="T60" fmla="*/ 7120 w 1027"/>
              <a:gd name="T61" fmla="*/ 5311 h 772"/>
              <a:gd name="T62" fmla="*/ 6941 w 1027"/>
              <a:gd name="T63" fmla="*/ 5366 h 772"/>
              <a:gd name="T64" fmla="*/ 6614 w 1027"/>
              <a:gd name="T65" fmla="*/ 5358 h 772"/>
              <a:gd name="T66" fmla="*/ 6380 w 1027"/>
              <a:gd name="T67" fmla="*/ 5530 h 772"/>
              <a:gd name="T68" fmla="*/ 6163 w 1027"/>
              <a:gd name="T69" fmla="*/ 5610 h 772"/>
              <a:gd name="T70" fmla="*/ 5976 w 1027"/>
              <a:gd name="T71" fmla="*/ 5621 h 772"/>
              <a:gd name="T72" fmla="*/ 5784 w 1027"/>
              <a:gd name="T73" fmla="*/ 5676 h 772"/>
              <a:gd name="T74" fmla="*/ 5597 w 1027"/>
              <a:gd name="T75" fmla="*/ 5717 h 772"/>
              <a:gd name="T76" fmla="*/ 5452 w 1027"/>
              <a:gd name="T77" fmla="*/ 5755 h 772"/>
              <a:gd name="T78" fmla="*/ 5227 w 1027"/>
              <a:gd name="T79" fmla="*/ 5704 h 772"/>
              <a:gd name="T80" fmla="*/ 4856 w 1027"/>
              <a:gd name="T81" fmla="*/ 5712 h 772"/>
              <a:gd name="T82" fmla="*/ 4693 w 1027"/>
              <a:gd name="T83" fmla="*/ 5693 h 772"/>
              <a:gd name="T84" fmla="*/ 4564 w 1027"/>
              <a:gd name="T85" fmla="*/ 5621 h 772"/>
              <a:gd name="T86" fmla="*/ 4238 w 1027"/>
              <a:gd name="T87" fmla="*/ 5538 h 772"/>
              <a:gd name="T88" fmla="*/ 4087 w 1027"/>
              <a:gd name="T89" fmla="*/ 5538 h 772"/>
              <a:gd name="T90" fmla="*/ 3865 w 1027"/>
              <a:gd name="T91" fmla="*/ 5505 h 772"/>
              <a:gd name="T92" fmla="*/ 3686 w 1027"/>
              <a:gd name="T93" fmla="*/ 5538 h 772"/>
              <a:gd name="T94" fmla="*/ 3498 w 1027"/>
              <a:gd name="T95" fmla="*/ 5484 h 772"/>
              <a:gd name="T96" fmla="*/ 3131 w 1027"/>
              <a:gd name="T97" fmla="*/ 5517 h 772"/>
              <a:gd name="T98" fmla="*/ 2721 w 1027"/>
              <a:gd name="T99" fmla="*/ 5562 h 772"/>
              <a:gd name="T100" fmla="*/ 2277 w 1027"/>
              <a:gd name="T101" fmla="*/ 5583 h 772"/>
              <a:gd name="T102" fmla="*/ 1697 w 1027"/>
              <a:gd name="T103" fmla="*/ 5575 h 772"/>
              <a:gd name="T104" fmla="*/ 1228 w 1027"/>
              <a:gd name="T105" fmla="*/ 5545 h 772"/>
              <a:gd name="T106" fmla="*/ 974 w 1027"/>
              <a:gd name="T107" fmla="*/ 5530 h 772"/>
              <a:gd name="T108" fmla="*/ 756 w 1027"/>
              <a:gd name="T109" fmla="*/ 5575 h 772"/>
              <a:gd name="T110" fmla="*/ 484 w 1027"/>
              <a:gd name="T111" fmla="*/ 5562 h 772"/>
              <a:gd name="T112" fmla="*/ 250 w 1027"/>
              <a:gd name="T113" fmla="*/ 5545 h 772"/>
              <a:gd name="T114" fmla="*/ 0 w 1027"/>
              <a:gd name="T115" fmla="*/ 5583 h 772"/>
              <a:gd name="T116" fmla="*/ 0 w 1027"/>
              <a:gd name="T117" fmla="*/ 0 h 772"/>
              <a:gd name="T118" fmla="*/ 7610 w 1027"/>
              <a:gd name="T119" fmla="*/ 8 h 7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27"/>
              <a:gd name="T181" fmla="*/ 0 h 772"/>
              <a:gd name="T182" fmla="*/ 1027 w 1027"/>
              <a:gd name="T183" fmla="*/ 772 h 7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27" h="772">
                <a:moveTo>
                  <a:pt x="1009" y="1"/>
                </a:moveTo>
                <a:cubicBezTo>
                  <a:pt x="1009" y="1"/>
                  <a:pt x="1027" y="15"/>
                  <a:pt x="1017" y="32"/>
                </a:cubicBezTo>
                <a:cubicBezTo>
                  <a:pt x="1008" y="48"/>
                  <a:pt x="1022" y="68"/>
                  <a:pt x="1022" y="68"/>
                </a:cubicBezTo>
                <a:cubicBezTo>
                  <a:pt x="1019" y="92"/>
                  <a:pt x="1019" y="92"/>
                  <a:pt x="1019" y="92"/>
                </a:cubicBezTo>
                <a:cubicBezTo>
                  <a:pt x="1008" y="134"/>
                  <a:pt x="1008" y="134"/>
                  <a:pt x="1008" y="134"/>
                </a:cubicBezTo>
                <a:cubicBezTo>
                  <a:pt x="1013" y="151"/>
                  <a:pt x="1013" y="151"/>
                  <a:pt x="1013" y="151"/>
                </a:cubicBezTo>
                <a:cubicBezTo>
                  <a:pt x="1013" y="151"/>
                  <a:pt x="996" y="189"/>
                  <a:pt x="998" y="192"/>
                </a:cubicBezTo>
                <a:cubicBezTo>
                  <a:pt x="1001" y="196"/>
                  <a:pt x="1003" y="216"/>
                  <a:pt x="1003" y="216"/>
                </a:cubicBezTo>
                <a:cubicBezTo>
                  <a:pt x="979" y="228"/>
                  <a:pt x="979" y="228"/>
                  <a:pt x="979" y="228"/>
                </a:cubicBezTo>
                <a:cubicBezTo>
                  <a:pt x="979" y="228"/>
                  <a:pt x="971" y="243"/>
                  <a:pt x="974" y="255"/>
                </a:cubicBezTo>
                <a:cubicBezTo>
                  <a:pt x="978" y="268"/>
                  <a:pt x="981" y="280"/>
                  <a:pt x="981" y="280"/>
                </a:cubicBezTo>
                <a:cubicBezTo>
                  <a:pt x="971" y="297"/>
                  <a:pt x="971" y="297"/>
                  <a:pt x="971" y="297"/>
                </a:cubicBezTo>
                <a:cubicBezTo>
                  <a:pt x="973" y="324"/>
                  <a:pt x="973" y="324"/>
                  <a:pt x="973" y="324"/>
                </a:cubicBezTo>
                <a:cubicBezTo>
                  <a:pt x="970" y="354"/>
                  <a:pt x="970" y="354"/>
                  <a:pt x="970" y="354"/>
                </a:cubicBezTo>
                <a:cubicBezTo>
                  <a:pt x="961" y="368"/>
                  <a:pt x="961" y="368"/>
                  <a:pt x="961" y="368"/>
                </a:cubicBezTo>
                <a:cubicBezTo>
                  <a:pt x="964" y="401"/>
                  <a:pt x="964" y="401"/>
                  <a:pt x="964" y="401"/>
                </a:cubicBezTo>
                <a:cubicBezTo>
                  <a:pt x="960" y="424"/>
                  <a:pt x="960" y="424"/>
                  <a:pt x="960" y="424"/>
                </a:cubicBezTo>
                <a:cubicBezTo>
                  <a:pt x="967" y="447"/>
                  <a:pt x="967" y="447"/>
                  <a:pt x="967" y="447"/>
                </a:cubicBezTo>
                <a:cubicBezTo>
                  <a:pt x="954" y="469"/>
                  <a:pt x="954" y="469"/>
                  <a:pt x="954" y="469"/>
                </a:cubicBezTo>
                <a:cubicBezTo>
                  <a:pt x="951" y="496"/>
                  <a:pt x="951" y="496"/>
                  <a:pt x="951" y="496"/>
                </a:cubicBezTo>
                <a:cubicBezTo>
                  <a:pt x="943" y="510"/>
                  <a:pt x="943" y="510"/>
                  <a:pt x="943" y="510"/>
                </a:cubicBezTo>
                <a:cubicBezTo>
                  <a:pt x="948" y="527"/>
                  <a:pt x="948" y="527"/>
                  <a:pt x="948" y="527"/>
                </a:cubicBezTo>
                <a:cubicBezTo>
                  <a:pt x="942" y="536"/>
                  <a:pt x="942" y="536"/>
                  <a:pt x="942" y="536"/>
                </a:cubicBezTo>
                <a:cubicBezTo>
                  <a:pt x="942" y="536"/>
                  <a:pt x="927" y="540"/>
                  <a:pt x="941" y="568"/>
                </a:cubicBezTo>
                <a:cubicBezTo>
                  <a:pt x="954" y="596"/>
                  <a:pt x="949" y="593"/>
                  <a:pt x="949" y="593"/>
                </a:cubicBezTo>
                <a:cubicBezTo>
                  <a:pt x="957" y="606"/>
                  <a:pt x="957" y="606"/>
                  <a:pt x="957" y="606"/>
                </a:cubicBezTo>
                <a:cubicBezTo>
                  <a:pt x="964" y="631"/>
                  <a:pt x="964" y="631"/>
                  <a:pt x="964" y="631"/>
                </a:cubicBezTo>
                <a:cubicBezTo>
                  <a:pt x="964" y="631"/>
                  <a:pt x="970" y="647"/>
                  <a:pt x="977" y="650"/>
                </a:cubicBezTo>
                <a:cubicBezTo>
                  <a:pt x="985" y="654"/>
                  <a:pt x="990" y="674"/>
                  <a:pt x="990" y="674"/>
                </a:cubicBezTo>
                <a:cubicBezTo>
                  <a:pt x="990" y="674"/>
                  <a:pt x="984" y="696"/>
                  <a:pt x="980" y="694"/>
                </a:cubicBezTo>
                <a:cubicBezTo>
                  <a:pt x="975" y="691"/>
                  <a:pt x="944" y="705"/>
                  <a:pt x="944" y="705"/>
                </a:cubicBezTo>
                <a:cubicBezTo>
                  <a:pt x="944" y="705"/>
                  <a:pt x="924" y="714"/>
                  <a:pt x="920" y="712"/>
                </a:cubicBezTo>
                <a:cubicBezTo>
                  <a:pt x="916" y="710"/>
                  <a:pt x="896" y="697"/>
                  <a:pt x="877" y="711"/>
                </a:cubicBezTo>
                <a:cubicBezTo>
                  <a:pt x="857" y="726"/>
                  <a:pt x="846" y="734"/>
                  <a:pt x="846" y="734"/>
                </a:cubicBezTo>
                <a:cubicBezTo>
                  <a:pt x="817" y="745"/>
                  <a:pt x="817" y="745"/>
                  <a:pt x="817" y="745"/>
                </a:cubicBezTo>
                <a:cubicBezTo>
                  <a:pt x="792" y="746"/>
                  <a:pt x="792" y="746"/>
                  <a:pt x="792" y="746"/>
                </a:cubicBezTo>
                <a:cubicBezTo>
                  <a:pt x="792" y="746"/>
                  <a:pt x="789" y="740"/>
                  <a:pt x="767" y="753"/>
                </a:cubicBezTo>
                <a:cubicBezTo>
                  <a:pt x="744" y="766"/>
                  <a:pt x="742" y="759"/>
                  <a:pt x="742" y="759"/>
                </a:cubicBezTo>
                <a:cubicBezTo>
                  <a:pt x="723" y="764"/>
                  <a:pt x="723" y="764"/>
                  <a:pt x="723" y="764"/>
                </a:cubicBezTo>
                <a:cubicBezTo>
                  <a:pt x="693" y="757"/>
                  <a:pt x="693" y="757"/>
                  <a:pt x="693" y="757"/>
                </a:cubicBezTo>
                <a:cubicBezTo>
                  <a:pt x="693" y="757"/>
                  <a:pt x="666" y="745"/>
                  <a:pt x="644" y="758"/>
                </a:cubicBezTo>
                <a:cubicBezTo>
                  <a:pt x="621" y="772"/>
                  <a:pt x="622" y="756"/>
                  <a:pt x="622" y="756"/>
                </a:cubicBezTo>
                <a:cubicBezTo>
                  <a:pt x="605" y="746"/>
                  <a:pt x="605" y="746"/>
                  <a:pt x="605" y="746"/>
                </a:cubicBezTo>
                <a:cubicBezTo>
                  <a:pt x="605" y="746"/>
                  <a:pt x="580" y="723"/>
                  <a:pt x="562" y="735"/>
                </a:cubicBezTo>
                <a:cubicBezTo>
                  <a:pt x="545" y="747"/>
                  <a:pt x="547" y="739"/>
                  <a:pt x="542" y="735"/>
                </a:cubicBezTo>
                <a:cubicBezTo>
                  <a:pt x="536" y="732"/>
                  <a:pt x="519" y="722"/>
                  <a:pt x="512" y="731"/>
                </a:cubicBezTo>
                <a:cubicBezTo>
                  <a:pt x="504" y="740"/>
                  <a:pt x="489" y="735"/>
                  <a:pt x="489" y="735"/>
                </a:cubicBezTo>
                <a:cubicBezTo>
                  <a:pt x="464" y="728"/>
                  <a:pt x="464" y="728"/>
                  <a:pt x="464" y="728"/>
                </a:cubicBezTo>
                <a:cubicBezTo>
                  <a:pt x="415" y="732"/>
                  <a:pt x="415" y="732"/>
                  <a:pt x="415" y="732"/>
                </a:cubicBezTo>
                <a:cubicBezTo>
                  <a:pt x="361" y="738"/>
                  <a:pt x="361" y="738"/>
                  <a:pt x="361" y="738"/>
                </a:cubicBezTo>
                <a:cubicBezTo>
                  <a:pt x="302" y="741"/>
                  <a:pt x="302" y="741"/>
                  <a:pt x="302" y="741"/>
                </a:cubicBezTo>
                <a:cubicBezTo>
                  <a:pt x="225" y="740"/>
                  <a:pt x="225" y="740"/>
                  <a:pt x="225" y="740"/>
                </a:cubicBezTo>
                <a:cubicBezTo>
                  <a:pt x="163" y="736"/>
                  <a:pt x="163" y="736"/>
                  <a:pt x="163" y="736"/>
                </a:cubicBezTo>
                <a:cubicBezTo>
                  <a:pt x="129" y="734"/>
                  <a:pt x="129" y="734"/>
                  <a:pt x="129" y="734"/>
                </a:cubicBezTo>
                <a:cubicBezTo>
                  <a:pt x="100" y="740"/>
                  <a:pt x="100" y="740"/>
                  <a:pt x="100" y="740"/>
                </a:cubicBezTo>
                <a:cubicBezTo>
                  <a:pt x="64" y="738"/>
                  <a:pt x="64" y="738"/>
                  <a:pt x="64" y="738"/>
                </a:cubicBezTo>
                <a:cubicBezTo>
                  <a:pt x="33" y="736"/>
                  <a:pt x="33" y="736"/>
                  <a:pt x="33" y="736"/>
                </a:cubicBezTo>
                <a:cubicBezTo>
                  <a:pt x="0" y="741"/>
                  <a:pt x="0" y="741"/>
                  <a:pt x="0" y="741"/>
                </a:cubicBezTo>
                <a:cubicBezTo>
                  <a:pt x="0" y="0"/>
                  <a:pt x="0" y="0"/>
                  <a:pt x="0" y="0"/>
                </a:cubicBezTo>
                <a:lnTo>
                  <a:pt x="1009" y="1"/>
                </a:lnTo>
                <a:close/>
              </a:path>
            </a:pathLst>
          </a:custGeom>
          <a:solidFill>
            <a:srgbClr val="808080">
              <a:lumMod val="20000"/>
              <a:lumOff val="80000"/>
            </a:srgbClr>
          </a:solidFill>
          <a:ln w="6350">
            <a:solidFill>
              <a:srgbClr val="91B0FF">
                <a:alpha val="75000"/>
              </a:srgbClr>
            </a:solidFill>
            <a:miter lim="800000"/>
            <a:headEnd/>
            <a:tailEnd/>
          </a:ln>
          <a:effectLst>
            <a:outerShdw blurRad="50800" dist="38100" dir="2700000" algn="tl" rotWithShape="0">
              <a:prstClr val="black">
                <a:alpha val="40000"/>
              </a:prstClr>
            </a:outerShdw>
          </a:effectLst>
        </p:spPr>
        <p:txBody>
          <a:bodyPr/>
          <a:lstStyle/>
          <a:p>
            <a:pPr marL="0" marR="0" lvl="0" indent="339725"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40" name="TextBox 39"/>
          <p:cNvSpPr txBox="1"/>
          <p:nvPr/>
        </p:nvSpPr>
        <p:spPr>
          <a:xfrm>
            <a:off x="3557726" y="4805852"/>
            <a:ext cx="2500683" cy="738664"/>
          </a:xfrm>
          <a:prstGeom prst="rect">
            <a:avLst/>
          </a:prstGeom>
          <a:noFill/>
        </p:spPr>
        <p:txBody>
          <a:bodyPr wrap="square" rtlCol="0">
            <a:spAutoFit/>
          </a:bodyPr>
          <a:lstStyle/>
          <a:p>
            <a:r>
              <a:rPr lang="ru-RU" sz="1400" b="1" dirty="0"/>
              <a:t>Уровень грамотности</a:t>
            </a:r>
            <a:r>
              <a:rPr lang="en-US" sz="1400" b="1" dirty="0"/>
              <a:t>:</a:t>
            </a:r>
            <a:r>
              <a:rPr lang="en-US" sz="1400" dirty="0"/>
              <a:t> 49.1%</a:t>
            </a:r>
          </a:p>
          <a:p>
            <a:r>
              <a:rPr lang="ru-RU" sz="1400" b="1" dirty="0" err="1"/>
              <a:t>Физич</a:t>
            </a:r>
            <a:r>
              <a:rPr lang="ru-RU" sz="1400" b="1" dirty="0"/>
              <a:t>. безопасность:</a:t>
            </a:r>
            <a:r>
              <a:rPr lang="en-US" sz="1400" b="1" dirty="0"/>
              <a:t> </a:t>
            </a:r>
            <a:r>
              <a:rPr lang="en-US" sz="1400" dirty="0"/>
              <a:t>46</a:t>
            </a:r>
          </a:p>
          <a:p>
            <a:r>
              <a:rPr lang="ru-RU" sz="1400" b="1" dirty="0"/>
              <a:t>Экономическая свобода:</a:t>
            </a:r>
            <a:r>
              <a:rPr lang="en-US" sz="1400" b="1" dirty="0"/>
              <a:t> </a:t>
            </a:r>
            <a:r>
              <a:rPr lang="en-US" sz="1400" dirty="0"/>
              <a:t>142</a:t>
            </a:r>
          </a:p>
        </p:txBody>
      </p:sp>
      <p:sp>
        <p:nvSpPr>
          <p:cNvPr id="45" name="Freeform 38" descr="textur5"/>
          <p:cNvSpPr>
            <a:spLocks/>
          </p:cNvSpPr>
          <p:nvPr/>
        </p:nvSpPr>
        <p:spPr bwMode="auto">
          <a:xfrm>
            <a:off x="860246" y="4544649"/>
            <a:ext cx="2697480" cy="1233087"/>
          </a:xfrm>
          <a:custGeom>
            <a:avLst/>
            <a:gdLst>
              <a:gd name="T0" fmla="*/ 7610 w 1027"/>
              <a:gd name="T1" fmla="*/ 8 h 772"/>
              <a:gd name="T2" fmla="*/ 7668 w 1027"/>
              <a:gd name="T3" fmla="*/ 242 h 772"/>
              <a:gd name="T4" fmla="*/ 7710 w 1027"/>
              <a:gd name="T5" fmla="*/ 514 h 772"/>
              <a:gd name="T6" fmla="*/ 7688 w 1027"/>
              <a:gd name="T7" fmla="*/ 691 h 772"/>
              <a:gd name="T8" fmla="*/ 7605 w 1027"/>
              <a:gd name="T9" fmla="*/ 1011 h 772"/>
              <a:gd name="T10" fmla="*/ 7643 w 1027"/>
              <a:gd name="T11" fmla="*/ 1137 h 772"/>
              <a:gd name="T12" fmla="*/ 7529 w 1027"/>
              <a:gd name="T13" fmla="*/ 1446 h 772"/>
              <a:gd name="T14" fmla="*/ 7564 w 1027"/>
              <a:gd name="T15" fmla="*/ 1627 h 772"/>
              <a:gd name="T16" fmla="*/ 7383 w 1027"/>
              <a:gd name="T17" fmla="*/ 1718 h 772"/>
              <a:gd name="T18" fmla="*/ 7347 w 1027"/>
              <a:gd name="T19" fmla="*/ 1919 h 772"/>
              <a:gd name="T20" fmla="*/ 7401 w 1027"/>
              <a:gd name="T21" fmla="*/ 2111 h 772"/>
              <a:gd name="T22" fmla="*/ 7325 w 1027"/>
              <a:gd name="T23" fmla="*/ 2237 h 772"/>
              <a:gd name="T24" fmla="*/ 7342 w 1027"/>
              <a:gd name="T25" fmla="*/ 2442 h 772"/>
              <a:gd name="T26" fmla="*/ 7320 w 1027"/>
              <a:gd name="T27" fmla="*/ 2666 h 772"/>
              <a:gd name="T28" fmla="*/ 7250 w 1027"/>
              <a:gd name="T29" fmla="*/ 2775 h 772"/>
              <a:gd name="T30" fmla="*/ 7272 w 1027"/>
              <a:gd name="T31" fmla="*/ 3019 h 772"/>
              <a:gd name="T32" fmla="*/ 7242 w 1027"/>
              <a:gd name="T33" fmla="*/ 3193 h 772"/>
              <a:gd name="T34" fmla="*/ 7297 w 1027"/>
              <a:gd name="T35" fmla="*/ 3370 h 772"/>
              <a:gd name="T36" fmla="*/ 7196 w 1027"/>
              <a:gd name="T37" fmla="*/ 3532 h 772"/>
              <a:gd name="T38" fmla="*/ 7174 w 1027"/>
              <a:gd name="T39" fmla="*/ 3738 h 772"/>
              <a:gd name="T40" fmla="*/ 7113 w 1027"/>
              <a:gd name="T41" fmla="*/ 3842 h 772"/>
              <a:gd name="T42" fmla="*/ 7151 w 1027"/>
              <a:gd name="T43" fmla="*/ 3970 h 772"/>
              <a:gd name="T44" fmla="*/ 7105 w 1027"/>
              <a:gd name="T45" fmla="*/ 4037 h 772"/>
              <a:gd name="T46" fmla="*/ 7096 w 1027"/>
              <a:gd name="T47" fmla="*/ 4279 h 772"/>
              <a:gd name="T48" fmla="*/ 7159 w 1027"/>
              <a:gd name="T49" fmla="*/ 4467 h 772"/>
              <a:gd name="T50" fmla="*/ 7217 w 1027"/>
              <a:gd name="T51" fmla="*/ 4564 h 772"/>
              <a:gd name="T52" fmla="*/ 7272 w 1027"/>
              <a:gd name="T53" fmla="*/ 4752 h 772"/>
              <a:gd name="T54" fmla="*/ 7368 w 1027"/>
              <a:gd name="T55" fmla="*/ 4897 h 772"/>
              <a:gd name="T56" fmla="*/ 7471 w 1027"/>
              <a:gd name="T57" fmla="*/ 5081 h 772"/>
              <a:gd name="T58" fmla="*/ 7391 w 1027"/>
              <a:gd name="T59" fmla="*/ 5229 h 772"/>
              <a:gd name="T60" fmla="*/ 7120 w 1027"/>
              <a:gd name="T61" fmla="*/ 5311 h 772"/>
              <a:gd name="T62" fmla="*/ 6941 w 1027"/>
              <a:gd name="T63" fmla="*/ 5366 h 772"/>
              <a:gd name="T64" fmla="*/ 6614 w 1027"/>
              <a:gd name="T65" fmla="*/ 5358 h 772"/>
              <a:gd name="T66" fmla="*/ 6380 w 1027"/>
              <a:gd name="T67" fmla="*/ 5530 h 772"/>
              <a:gd name="T68" fmla="*/ 6163 w 1027"/>
              <a:gd name="T69" fmla="*/ 5610 h 772"/>
              <a:gd name="T70" fmla="*/ 5976 w 1027"/>
              <a:gd name="T71" fmla="*/ 5621 h 772"/>
              <a:gd name="T72" fmla="*/ 5784 w 1027"/>
              <a:gd name="T73" fmla="*/ 5676 h 772"/>
              <a:gd name="T74" fmla="*/ 5597 w 1027"/>
              <a:gd name="T75" fmla="*/ 5717 h 772"/>
              <a:gd name="T76" fmla="*/ 5452 w 1027"/>
              <a:gd name="T77" fmla="*/ 5755 h 772"/>
              <a:gd name="T78" fmla="*/ 5227 w 1027"/>
              <a:gd name="T79" fmla="*/ 5704 h 772"/>
              <a:gd name="T80" fmla="*/ 4856 w 1027"/>
              <a:gd name="T81" fmla="*/ 5712 h 772"/>
              <a:gd name="T82" fmla="*/ 4693 w 1027"/>
              <a:gd name="T83" fmla="*/ 5693 h 772"/>
              <a:gd name="T84" fmla="*/ 4564 w 1027"/>
              <a:gd name="T85" fmla="*/ 5621 h 772"/>
              <a:gd name="T86" fmla="*/ 4238 w 1027"/>
              <a:gd name="T87" fmla="*/ 5538 h 772"/>
              <a:gd name="T88" fmla="*/ 4087 w 1027"/>
              <a:gd name="T89" fmla="*/ 5538 h 772"/>
              <a:gd name="T90" fmla="*/ 3865 w 1027"/>
              <a:gd name="T91" fmla="*/ 5505 h 772"/>
              <a:gd name="T92" fmla="*/ 3686 w 1027"/>
              <a:gd name="T93" fmla="*/ 5538 h 772"/>
              <a:gd name="T94" fmla="*/ 3498 w 1027"/>
              <a:gd name="T95" fmla="*/ 5484 h 772"/>
              <a:gd name="T96" fmla="*/ 3131 w 1027"/>
              <a:gd name="T97" fmla="*/ 5517 h 772"/>
              <a:gd name="T98" fmla="*/ 2721 w 1027"/>
              <a:gd name="T99" fmla="*/ 5562 h 772"/>
              <a:gd name="T100" fmla="*/ 2277 w 1027"/>
              <a:gd name="T101" fmla="*/ 5583 h 772"/>
              <a:gd name="T102" fmla="*/ 1697 w 1027"/>
              <a:gd name="T103" fmla="*/ 5575 h 772"/>
              <a:gd name="T104" fmla="*/ 1228 w 1027"/>
              <a:gd name="T105" fmla="*/ 5545 h 772"/>
              <a:gd name="T106" fmla="*/ 974 w 1027"/>
              <a:gd name="T107" fmla="*/ 5530 h 772"/>
              <a:gd name="T108" fmla="*/ 756 w 1027"/>
              <a:gd name="T109" fmla="*/ 5575 h 772"/>
              <a:gd name="T110" fmla="*/ 484 w 1027"/>
              <a:gd name="T111" fmla="*/ 5562 h 772"/>
              <a:gd name="T112" fmla="*/ 250 w 1027"/>
              <a:gd name="T113" fmla="*/ 5545 h 772"/>
              <a:gd name="T114" fmla="*/ 0 w 1027"/>
              <a:gd name="T115" fmla="*/ 5583 h 772"/>
              <a:gd name="T116" fmla="*/ 0 w 1027"/>
              <a:gd name="T117" fmla="*/ 0 h 772"/>
              <a:gd name="T118" fmla="*/ 7610 w 1027"/>
              <a:gd name="T119" fmla="*/ 8 h 7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27"/>
              <a:gd name="T181" fmla="*/ 0 h 772"/>
              <a:gd name="T182" fmla="*/ 1027 w 1027"/>
              <a:gd name="T183" fmla="*/ 772 h 7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27" h="772">
                <a:moveTo>
                  <a:pt x="1009" y="1"/>
                </a:moveTo>
                <a:cubicBezTo>
                  <a:pt x="1009" y="1"/>
                  <a:pt x="1027" y="15"/>
                  <a:pt x="1017" y="32"/>
                </a:cubicBezTo>
                <a:cubicBezTo>
                  <a:pt x="1008" y="48"/>
                  <a:pt x="1022" y="68"/>
                  <a:pt x="1022" y="68"/>
                </a:cubicBezTo>
                <a:cubicBezTo>
                  <a:pt x="1019" y="92"/>
                  <a:pt x="1019" y="92"/>
                  <a:pt x="1019" y="92"/>
                </a:cubicBezTo>
                <a:cubicBezTo>
                  <a:pt x="1008" y="134"/>
                  <a:pt x="1008" y="134"/>
                  <a:pt x="1008" y="134"/>
                </a:cubicBezTo>
                <a:cubicBezTo>
                  <a:pt x="1013" y="151"/>
                  <a:pt x="1013" y="151"/>
                  <a:pt x="1013" y="151"/>
                </a:cubicBezTo>
                <a:cubicBezTo>
                  <a:pt x="1013" y="151"/>
                  <a:pt x="996" y="189"/>
                  <a:pt x="998" y="192"/>
                </a:cubicBezTo>
                <a:cubicBezTo>
                  <a:pt x="1001" y="196"/>
                  <a:pt x="1003" y="216"/>
                  <a:pt x="1003" y="216"/>
                </a:cubicBezTo>
                <a:cubicBezTo>
                  <a:pt x="979" y="228"/>
                  <a:pt x="979" y="228"/>
                  <a:pt x="979" y="228"/>
                </a:cubicBezTo>
                <a:cubicBezTo>
                  <a:pt x="979" y="228"/>
                  <a:pt x="971" y="243"/>
                  <a:pt x="974" y="255"/>
                </a:cubicBezTo>
                <a:cubicBezTo>
                  <a:pt x="978" y="268"/>
                  <a:pt x="981" y="280"/>
                  <a:pt x="981" y="280"/>
                </a:cubicBezTo>
                <a:cubicBezTo>
                  <a:pt x="971" y="297"/>
                  <a:pt x="971" y="297"/>
                  <a:pt x="971" y="297"/>
                </a:cubicBezTo>
                <a:cubicBezTo>
                  <a:pt x="973" y="324"/>
                  <a:pt x="973" y="324"/>
                  <a:pt x="973" y="324"/>
                </a:cubicBezTo>
                <a:cubicBezTo>
                  <a:pt x="970" y="354"/>
                  <a:pt x="970" y="354"/>
                  <a:pt x="970" y="354"/>
                </a:cubicBezTo>
                <a:cubicBezTo>
                  <a:pt x="961" y="368"/>
                  <a:pt x="961" y="368"/>
                  <a:pt x="961" y="368"/>
                </a:cubicBezTo>
                <a:cubicBezTo>
                  <a:pt x="964" y="401"/>
                  <a:pt x="964" y="401"/>
                  <a:pt x="964" y="401"/>
                </a:cubicBezTo>
                <a:cubicBezTo>
                  <a:pt x="960" y="424"/>
                  <a:pt x="960" y="424"/>
                  <a:pt x="960" y="424"/>
                </a:cubicBezTo>
                <a:cubicBezTo>
                  <a:pt x="967" y="447"/>
                  <a:pt x="967" y="447"/>
                  <a:pt x="967" y="447"/>
                </a:cubicBezTo>
                <a:cubicBezTo>
                  <a:pt x="954" y="469"/>
                  <a:pt x="954" y="469"/>
                  <a:pt x="954" y="469"/>
                </a:cubicBezTo>
                <a:cubicBezTo>
                  <a:pt x="951" y="496"/>
                  <a:pt x="951" y="496"/>
                  <a:pt x="951" y="496"/>
                </a:cubicBezTo>
                <a:cubicBezTo>
                  <a:pt x="943" y="510"/>
                  <a:pt x="943" y="510"/>
                  <a:pt x="943" y="510"/>
                </a:cubicBezTo>
                <a:cubicBezTo>
                  <a:pt x="948" y="527"/>
                  <a:pt x="948" y="527"/>
                  <a:pt x="948" y="527"/>
                </a:cubicBezTo>
                <a:cubicBezTo>
                  <a:pt x="942" y="536"/>
                  <a:pt x="942" y="536"/>
                  <a:pt x="942" y="536"/>
                </a:cubicBezTo>
                <a:cubicBezTo>
                  <a:pt x="942" y="536"/>
                  <a:pt x="927" y="540"/>
                  <a:pt x="941" y="568"/>
                </a:cubicBezTo>
                <a:cubicBezTo>
                  <a:pt x="954" y="596"/>
                  <a:pt x="949" y="593"/>
                  <a:pt x="949" y="593"/>
                </a:cubicBezTo>
                <a:cubicBezTo>
                  <a:pt x="957" y="606"/>
                  <a:pt x="957" y="606"/>
                  <a:pt x="957" y="606"/>
                </a:cubicBezTo>
                <a:cubicBezTo>
                  <a:pt x="964" y="631"/>
                  <a:pt x="964" y="631"/>
                  <a:pt x="964" y="631"/>
                </a:cubicBezTo>
                <a:cubicBezTo>
                  <a:pt x="964" y="631"/>
                  <a:pt x="970" y="647"/>
                  <a:pt x="977" y="650"/>
                </a:cubicBezTo>
                <a:cubicBezTo>
                  <a:pt x="985" y="654"/>
                  <a:pt x="990" y="674"/>
                  <a:pt x="990" y="674"/>
                </a:cubicBezTo>
                <a:cubicBezTo>
                  <a:pt x="990" y="674"/>
                  <a:pt x="984" y="696"/>
                  <a:pt x="980" y="694"/>
                </a:cubicBezTo>
                <a:cubicBezTo>
                  <a:pt x="975" y="691"/>
                  <a:pt x="944" y="705"/>
                  <a:pt x="944" y="705"/>
                </a:cubicBezTo>
                <a:cubicBezTo>
                  <a:pt x="944" y="705"/>
                  <a:pt x="924" y="714"/>
                  <a:pt x="920" y="712"/>
                </a:cubicBezTo>
                <a:cubicBezTo>
                  <a:pt x="916" y="710"/>
                  <a:pt x="896" y="697"/>
                  <a:pt x="877" y="711"/>
                </a:cubicBezTo>
                <a:cubicBezTo>
                  <a:pt x="857" y="726"/>
                  <a:pt x="846" y="734"/>
                  <a:pt x="846" y="734"/>
                </a:cubicBezTo>
                <a:cubicBezTo>
                  <a:pt x="817" y="745"/>
                  <a:pt x="817" y="745"/>
                  <a:pt x="817" y="745"/>
                </a:cubicBezTo>
                <a:cubicBezTo>
                  <a:pt x="792" y="746"/>
                  <a:pt x="792" y="746"/>
                  <a:pt x="792" y="746"/>
                </a:cubicBezTo>
                <a:cubicBezTo>
                  <a:pt x="792" y="746"/>
                  <a:pt x="789" y="740"/>
                  <a:pt x="767" y="753"/>
                </a:cubicBezTo>
                <a:cubicBezTo>
                  <a:pt x="744" y="766"/>
                  <a:pt x="742" y="759"/>
                  <a:pt x="742" y="759"/>
                </a:cubicBezTo>
                <a:cubicBezTo>
                  <a:pt x="723" y="764"/>
                  <a:pt x="723" y="764"/>
                  <a:pt x="723" y="764"/>
                </a:cubicBezTo>
                <a:cubicBezTo>
                  <a:pt x="693" y="757"/>
                  <a:pt x="693" y="757"/>
                  <a:pt x="693" y="757"/>
                </a:cubicBezTo>
                <a:cubicBezTo>
                  <a:pt x="693" y="757"/>
                  <a:pt x="666" y="745"/>
                  <a:pt x="644" y="758"/>
                </a:cubicBezTo>
                <a:cubicBezTo>
                  <a:pt x="621" y="772"/>
                  <a:pt x="622" y="756"/>
                  <a:pt x="622" y="756"/>
                </a:cubicBezTo>
                <a:cubicBezTo>
                  <a:pt x="605" y="746"/>
                  <a:pt x="605" y="746"/>
                  <a:pt x="605" y="746"/>
                </a:cubicBezTo>
                <a:cubicBezTo>
                  <a:pt x="605" y="746"/>
                  <a:pt x="580" y="723"/>
                  <a:pt x="562" y="735"/>
                </a:cubicBezTo>
                <a:cubicBezTo>
                  <a:pt x="545" y="747"/>
                  <a:pt x="547" y="739"/>
                  <a:pt x="542" y="735"/>
                </a:cubicBezTo>
                <a:cubicBezTo>
                  <a:pt x="536" y="732"/>
                  <a:pt x="519" y="722"/>
                  <a:pt x="512" y="731"/>
                </a:cubicBezTo>
                <a:cubicBezTo>
                  <a:pt x="504" y="740"/>
                  <a:pt x="489" y="735"/>
                  <a:pt x="489" y="735"/>
                </a:cubicBezTo>
                <a:cubicBezTo>
                  <a:pt x="464" y="728"/>
                  <a:pt x="464" y="728"/>
                  <a:pt x="464" y="728"/>
                </a:cubicBezTo>
                <a:cubicBezTo>
                  <a:pt x="415" y="732"/>
                  <a:pt x="415" y="732"/>
                  <a:pt x="415" y="732"/>
                </a:cubicBezTo>
                <a:cubicBezTo>
                  <a:pt x="361" y="738"/>
                  <a:pt x="361" y="738"/>
                  <a:pt x="361" y="738"/>
                </a:cubicBezTo>
                <a:cubicBezTo>
                  <a:pt x="302" y="741"/>
                  <a:pt x="302" y="741"/>
                  <a:pt x="302" y="741"/>
                </a:cubicBezTo>
                <a:cubicBezTo>
                  <a:pt x="225" y="740"/>
                  <a:pt x="225" y="740"/>
                  <a:pt x="225" y="740"/>
                </a:cubicBezTo>
                <a:cubicBezTo>
                  <a:pt x="163" y="736"/>
                  <a:pt x="163" y="736"/>
                  <a:pt x="163" y="736"/>
                </a:cubicBezTo>
                <a:cubicBezTo>
                  <a:pt x="129" y="734"/>
                  <a:pt x="129" y="734"/>
                  <a:pt x="129" y="734"/>
                </a:cubicBezTo>
                <a:cubicBezTo>
                  <a:pt x="100" y="740"/>
                  <a:pt x="100" y="740"/>
                  <a:pt x="100" y="740"/>
                </a:cubicBezTo>
                <a:cubicBezTo>
                  <a:pt x="64" y="738"/>
                  <a:pt x="64" y="738"/>
                  <a:pt x="64" y="738"/>
                </a:cubicBezTo>
                <a:cubicBezTo>
                  <a:pt x="33" y="736"/>
                  <a:pt x="33" y="736"/>
                  <a:pt x="33" y="736"/>
                </a:cubicBezTo>
                <a:cubicBezTo>
                  <a:pt x="0" y="741"/>
                  <a:pt x="0" y="741"/>
                  <a:pt x="0" y="741"/>
                </a:cubicBezTo>
                <a:cubicBezTo>
                  <a:pt x="0" y="0"/>
                  <a:pt x="0" y="0"/>
                  <a:pt x="0" y="0"/>
                </a:cubicBezTo>
                <a:lnTo>
                  <a:pt x="1009" y="1"/>
                </a:lnTo>
                <a:close/>
              </a:path>
            </a:pathLst>
          </a:custGeom>
          <a:solidFill>
            <a:srgbClr val="808080">
              <a:lumMod val="20000"/>
              <a:lumOff val="80000"/>
            </a:srgbClr>
          </a:solidFill>
          <a:ln w="6350">
            <a:solidFill>
              <a:srgbClr val="91B0FF">
                <a:alpha val="75000"/>
              </a:srgbClr>
            </a:solidFill>
            <a:miter lim="800000"/>
            <a:headEnd/>
            <a:tailEnd/>
          </a:ln>
          <a:effectLst>
            <a:outerShdw blurRad="50800" dist="38100" dir="2700000" algn="tl" rotWithShape="0">
              <a:prstClr val="black">
                <a:alpha val="40000"/>
              </a:prstClr>
            </a:outerShdw>
          </a:effectLst>
        </p:spPr>
        <p:txBody>
          <a:bodyPr/>
          <a:lstStyle/>
          <a:p>
            <a:pPr marL="0" marR="0" lvl="0" indent="339725"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47" name="Freeform 38" descr="textur5"/>
          <p:cNvSpPr>
            <a:spLocks/>
          </p:cNvSpPr>
          <p:nvPr/>
        </p:nvSpPr>
        <p:spPr bwMode="auto">
          <a:xfrm>
            <a:off x="3554407" y="3084275"/>
            <a:ext cx="2697480" cy="1233087"/>
          </a:xfrm>
          <a:custGeom>
            <a:avLst/>
            <a:gdLst>
              <a:gd name="T0" fmla="*/ 7610 w 1027"/>
              <a:gd name="T1" fmla="*/ 8 h 772"/>
              <a:gd name="T2" fmla="*/ 7668 w 1027"/>
              <a:gd name="T3" fmla="*/ 242 h 772"/>
              <a:gd name="T4" fmla="*/ 7710 w 1027"/>
              <a:gd name="T5" fmla="*/ 514 h 772"/>
              <a:gd name="T6" fmla="*/ 7688 w 1027"/>
              <a:gd name="T7" fmla="*/ 691 h 772"/>
              <a:gd name="T8" fmla="*/ 7605 w 1027"/>
              <a:gd name="T9" fmla="*/ 1011 h 772"/>
              <a:gd name="T10" fmla="*/ 7643 w 1027"/>
              <a:gd name="T11" fmla="*/ 1137 h 772"/>
              <a:gd name="T12" fmla="*/ 7529 w 1027"/>
              <a:gd name="T13" fmla="*/ 1446 h 772"/>
              <a:gd name="T14" fmla="*/ 7564 w 1027"/>
              <a:gd name="T15" fmla="*/ 1627 h 772"/>
              <a:gd name="T16" fmla="*/ 7383 w 1027"/>
              <a:gd name="T17" fmla="*/ 1718 h 772"/>
              <a:gd name="T18" fmla="*/ 7347 w 1027"/>
              <a:gd name="T19" fmla="*/ 1919 h 772"/>
              <a:gd name="T20" fmla="*/ 7401 w 1027"/>
              <a:gd name="T21" fmla="*/ 2111 h 772"/>
              <a:gd name="T22" fmla="*/ 7325 w 1027"/>
              <a:gd name="T23" fmla="*/ 2237 h 772"/>
              <a:gd name="T24" fmla="*/ 7342 w 1027"/>
              <a:gd name="T25" fmla="*/ 2442 h 772"/>
              <a:gd name="T26" fmla="*/ 7320 w 1027"/>
              <a:gd name="T27" fmla="*/ 2666 h 772"/>
              <a:gd name="T28" fmla="*/ 7250 w 1027"/>
              <a:gd name="T29" fmla="*/ 2775 h 772"/>
              <a:gd name="T30" fmla="*/ 7272 w 1027"/>
              <a:gd name="T31" fmla="*/ 3019 h 772"/>
              <a:gd name="T32" fmla="*/ 7242 w 1027"/>
              <a:gd name="T33" fmla="*/ 3193 h 772"/>
              <a:gd name="T34" fmla="*/ 7297 w 1027"/>
              <a:gd name="T35" fmla="*/ 3370 h 772"/>
              <a:gd name="T36" fmla="*/ 7196 w 1027"/>
              <a:gd name="T37" fmla="*/ 3532 h 772"/>
              <a:gd name="T38" fmla="*/ 7174 w 1027"/>
              <a:gd name="T39" fmla="*/ 3738 h 772"/>
              <a:gd name="T40" fmla="*/ 7113 w 1027"/>
              <a:gd name="T41" fmla="*/ 3842 h 772"/>
              <a:gd name="T42" fmla="*/ 7151 w 1027"/>
              <a:gd name="T43" fmla="*/ 3970 h 772"/>
              <a:gd name="T44" fmla="*/ 7105 w 1027"/>
              <a:gd name="T45" fmla="*/ 4037 h 772"/>
              <a:gd name="T46" fmla="*/ 7096 w 1027"/>
              <a:gd name="T47" fmla="*/ 4279 h 772"/>
              <a:gd name="T48" fmla="*/ 7159 w 1027"/>
              <a:gd name="T49" fmla="*/ 4467 h 772"/>
              <a:gd name="T50" fmla="*/ 7217 w 1027"/>
              <a:gd name="T51" fmla="*/ 4564 h 772"/>
              <a:gd name="T52" fmla="*/ 7272 w 1027"/>
              <a:gd name="T53" fmla="*/ 4752 h 772"/>
              <a:gd name="T54" fmla="*/ 7368 w 1027"/>
              <a:gd name="T55" fmla="*/ 4897 h 772"/>
              <a:gd name="T56" fmla="*/ 7471 w 1027"/>
              <a:gd name="T57" fmla="*/ 5081 h 772"/>
              <a:gd name="T58" fmla="*/ 7391 w 1027"/>
              <a:gd name="T59" fmla="*/ 5229 h 772"/>
              <a:gd name="T60" fmla="*/ 7120 w 1027"/>
              <a:gd name="T61" fmla="*/ 5311 h 772"/>
              <a:gd name="T62" fmla="*/ 6941 w 1027"/>
              <a:gd name="T63" fmla="*/ 5366 h 772"/>
              <a:gd name="T64" fmla="*/ 6614 w 1027"/>
              <a:gd name="T65" fmla="*/ 5358 h 772"/>
              <a:gd name="T66" fmla="*/ 6380 w 1027"/>
              <a:gd name="T67" fmla="*/ 5530 h 772"/>
              <a:gd name="T68" fmla="*/ 6163 w 1027"/>
              <a:gd name="T69" fmla="*/ 5610 h 772"/>
              <a:gd name="T70" fmla="*/ 5976 w 1027"/>
              <a:gd name="T71" fmla="*/ 5621 h 772"/>
              <a:gd name="T72" fmla="*/ 5784 w 1027"/>
              <a:gd name="T73" fmla="*/ 5676 h 772"/>
              <a:gd name="T74" fmla="*/ 5597 w 1027"/>
              <a:gd name="T75" fmla="*/ 5717 h 772"/>
              <a:gd name="T76" fmla="*/ 5452 w 1027"/>
              <a:gd name="T77" fmla="*/ 5755 h 772"/>
              <a:gd name="T78" fmla="*/ 5227 w 1027"/>
              <a:gd name="T79" fmla="*/ 5704 h 772"/>
              <a:gd name="T80" fmla="*/ 4856 w 1027"/>
              <a:gd name="T81" fmla="*/ 5712 h 772"/>
              <a:gd name="T82" fmla="*/ 4693 w 1027"/>
              <a:gd name="T83" fmla="*/ 5693 h 772"/>
              <a:gd name="T84" fmla="*/ 4564 w 1027"/>
              <a:gd name="T85" fmla="*/ 5621 h 772"/>
              <a:gd name="T86" fmla="*/ 4238 w 1027"/>
              <a:gd name="T87" fmla="*/ 5538 h 772"/>
              <a:gd name="T88" fmla="*/ 4087 w 1027"/>
              <a:gd name="T89" fmla="*/ 5538 h 772"/>
              <a:gd name="T90" fmla="*/ 3865 w 1027"/>
              <a:gd name="T91" fmla="*/ 5505 h 772"/>
              <a:gd name="T92" fmla="*/ 3686 w 1027"/>
              <a:gd name="T93" fmla="*/ 5538 h 772"/>
              <a:gd name="T94" fmla="*/ 3498 w 1027"/>
              <a:gd name="T95" fmla="*/ 5484 h 772"/>
              <a:gd name="T96" fmla="*/ 3131 w 1027"/>
              <a:gd name="T97" fmla="*/ 5517 h 772"/>
              <a:gd name="T98" fmla="*/ 2721 w 1027"/>
              <a:gd name="T99" fmla="*/ 5562 h 772"/>
              <a:gd name="T100" fmla="*/ 2277 w 1027"/>
              <a:gd name="T101" fmla="*/ 5583 h 772"/>
              <a:gd name="T102" fmla="*/ 1697 w 1027"/>
              <a:gd name="T103" fmla="*/ 5575 h 772"/>
              <a:gd name="T104" fmla="*/ 1228 w 1027"/>
              <a:gd name="T105" fmla="*/ 5545 h 772"/>
              <a:gd name="T106" fmla="*/ 974 w 1027"/>
              <a:gd name="T107" fmla="*/ 5530 h 772"/>
              <a:gd name="T108" fmla="*/ 756 w 1027"/>
              <a:gd name="T109" fmla="*/ 5575 h 772"/>
              <a:gd name="T110" fmla="*/ 484 w 1027"/>
              <a:gd name="T111" fmla="*/ 5562 h 772"/>
              <a:gd name="T112" fmla="*/ 250 w 1027"/>
              <a:gd name="T113" fmla="*/ 5545 h 772"/>
              <a:gd name="T114" fmla="*/ 0 w 1027"/>
              <a:gd name="T115" fmla="*/ 5583 h 772"/>
              <a:gd name="T116" fmla="*/ 0 w 1027"/>
              <a:gd name="T117" fmla="*/ 0 h 772"/>
              <a:gd name="T118" fmla="*/ 7610 w 1027"/>
              <a:gd name="T119" fmla="*/ 8 h 7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27"/>
              <a:gd name="T181" fmla="*/ 0 h 772"/>
              <a:gd name="T182" fmla="*/ 1027 w 1027"/>
              <a:gd name="T183" fmla="*/ 772 h 7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27" h="772">
                <a:moveTo>
                  <a:pt x="1009" y="1"/>
                </a:moveTo>
                <a:cubicBezTo>
                  <a:pt x="1009" y="1"/>
                  <a:pt x="1027" y="15"/>
                  <a:pt x="1017" y="32"/>
                </a:cubicBezTo>
                <a:cubicBezTo>
                  <a:pt x="1008" y="48"/>
                  <a:pt x="1022" y="68"/>
                  <a:pt x="1022" y="68"/>
                </a:cubicBezTo>
                <a:cubicBezTo>
                  <a:pt x="1019" y="92"/>
                  <a:pt x="1019" y="92"/>
                  <a:pt x="1019" y="92"/>
                </a:cubicBezTo>
                <a:cubicBezTo>
                  <a:pt x="1008" y="134"/>
                  <a:pt x="1008" y="134"/>
                  <a:pt x="1008" y="134"/>
                </a:cubicBezTo>
                <a:cubicBezTo>
                  <a:pt x="1013" y="151"/>
                  <a:pt x="1013" y="151"/>
                  <a:pt x="1013" y="151"/>
                </a:cubicBezTo>
                <a:cubicBezTo>
                  <a:pt x="1013" y="151"/>
                  <a:pt x="996" y="189"/>
                  <a:pt x="998" y="192"/>
                </a:cubicBezTo>
                <a:cubicBezTo>
                  <a:pt x="1001" y="196"/>
                  <a:pt x="1003" y="216"/>
                  <a:pt x="1003" y="216"/>
                </a:cubicBezTo>
                <a:cubicBezTo>
                  <a:pt x="979" y="228"/>
                  <a:pt x="979" y="228"/>
                  <a:pt x="979" y="228"/>
                </a:cubicBezTo>
                <a:cubicBezTo>
                  <a:pt x="979" y="228"/>
                  <a:pt x="971" y="243"/>
                  <a:pt x="974" y="255"/>
                </a:cubicBezTo>
                <a:cubicBezTo>
                  <a:pt x="978" y="268"/>
                  <a:pt x="981" y="280"/>
                  <a:pt x="981" y="280"/>
                </a:cubicBezTo>
                <a:cubicBezTo>
                  <a:pt x="971" y="297"/>
                  <a:pt x="971" y="297"/>
                  <a:pt x="971" y="297"/>
                </a:cubicBezTo>
                <a:cubicBezTo>
                  <a:pt x="973" y="324"/>
                  <a:pt x="973" y="324"/>
                  <a:pt x="973" y="324"/>
                </a:cubicBezTo>
                <a:cubicBezTo>
                  <a:pt x="970" y="354"/>
                  <a:pt x="970" y="354"/>
                  <a:pt x="970" y="354"/>
                </a:cubicBezTo>
                <a:cubicBezTo>
                  <a:pt x="961" y="368"/>
                  <a:pt x="961" y="368"/>
                  <a:pt x="961" y="368"/>
                </a:cubicBezTo>
                <a:cubicBezTo>
                  <a:pt x="964" y="401"/>
                  <a:pt x="964" y="401"/>
                  <a:pt x="964" y="401"/>
                </a:cubicBezTo>
                <a:cubicBezTo>
                  <a:pt x="960" y="424"/>
                  <a:pt x="960" y="424"/>
                  <a:pt x="960" y="424"/>
                </a:cubicBezTo>
                <a:cubicBezTo>
                  <a:pt x="967" y="447"/>
                  <a:pt x="967" y="447"/>
                  <a:pt x="967" y="447"/>
                </a:cubicBezTo>
                <a:cubicBezTo>
                  <a:pt x="954" y="469"/>
                  <a:pt x="954" y="469"/>
                  <a:pt x="954" y="469"/>
                </a:cubicBezTo>
                <a:cubicBezTo>
                  <a:pt x="951" y="496"/>
                  <a:pt x="951" y="496"/>
                  <a:pt x="951" y="496"/>
                </a:cubicBezTo>
                <a:cubicBezTo>
                  <a:pt x="943" y="510"/>
                  <a:pt x="943" y="510"/>
                  <a:pt x="943" y="510"/>
                </a:cubicBezTo>
                <a:cubicBezTo>
                  <a:pt x="948" y="527"/>
                  <a:pt x="948" y="527"/>
                  <a:pt x="948" y="527"/>
                </a:cubicBezTo>
                <a:cubicBezTo>
                  <a:pt x="942" y="536"/>
                  <a:pt x="942" y="536"/>
                  <a:pt x="942" y="536"/>
                </a:cubicBezTo>
                <a:cubicBezTo>
                  <a:pt x="942" y="536"/>
                  <a:pt x="927" y="540"/>
                  <a:pt x="941" y="568"/>
                </a:cubicBezTo>
                <a:cubicBezTo>
                  <a:pt x="954" y="596"/>
                  <a:pt x="949" y="593"/>
                  <a:pt x="949" y="593"/>
                </a:cubicBezTo>
                <a:cubicBezTo>
                  <a:pt x="957" y="606"/>
                  <a:pt x="957" y="606"/>
                  <a:pt x="957" y="606"/>
                </a:cubicBezTo>
                <a:cubicBezTo>
                  <a:pt x="964" y="631"/>
                  <a:pt x="964" y="631"/>
                  <a:pt x="964" y="631"/>
                </a:cubicBezTo>
                <a:cubicBezTo>
                  <a:pt x="964" y="631"/>
                  <a:pt x="970" y="647"/>
                  <a:pt x="977" y="650"/>
                </a:cubicBezTo>
                <a:cubicBezTo>
                  <a:pt x="985" y="654"/>
                  <a:pt x="990" y="674"/>
                  <a:pt x="990" y="674"/>
                </a:cubicBezTo>
                <a:cubicBezTo>
                  <a:pt x="990" y="674"/>
                  <a:pt x="984" y="696"/>
                  <a:pt x="980" y="694"/>
                </a:cubicBezTo>
                <a:cubicBezTo>
                  <a:pt x="975" y="691"/>
                  <a:pt x="944" y="705"/>
                  <a:pt x="944" y="705"/>
                </a:cubicBezTo>
                <a:cubicBezTo>
                  <a:pt x="944" y="705"/>
                  <a:pt x="924" y="714"/>
                  <a:pt x="920" y="712"/>
                </a:cubicBezTo>
                <a:cubicBezTo>
                  <a:pt x="916" y="710"/>
                  <a:pt x="896" y="697"/>
                  <a:pt x="877" y="711"/>
                </a:cubicBezTo>
                <a:cubicBezTo>
                  <a:pt x="857" y="726"/>
                  <a:pt x="846" y="734"/>
                  <a:pt x="846" y="734"/>
                </a:cubicBezTo>
                <a:cubicBezTo>
                  <a:pt x="817" y="745"/>
                  <a:pt x="817" y="745"/>
                  <a:pt x="817" y="745"/>
                </a:cubicBezTo>
                <a:cubicBezTo>
                  <a:pt x="792" y="746"/>
                  <a:pt x="792" y="746"/>
                  <a:pt x="792" y="746"/>
                </a:cubicBezTo>
                <a:cubicBezTo>
                  <a:pt x="792" y="746"/>
                  <a:pt x="789" y="740"/>
                  <a:pt x="767" y="753"/>
                </a:cubicBezTo>
                <a:cubicBezTo>
                  <a:pt x="744" y="766"/>
                  <a:pt x="742" y="759"/>
                  <a:pt x="742" y="759"/>
                </a:cubicBezTo>
                <a:cubicBezTo>
                  <a:pt x="723" y="764"/>
                  <a:pt x="723" y="764"/>
                  <a:pt x="723" y="764"/>
                </a:cubicBezTo>
                <a:cubicBezTo>
                  <a:pt x="693" y="757"/>
                  <a:pt x="693" y="757"/>
                  <a:pt x="693" y="757"/>
                </a:cubicBezTo>
                <a:cubicBezTo>
                  <a:pt x="693" y="757"/>
                  <a:pt x="666" y="745"/>
                  <a:pt x="644" y="758"/>
                </a:cubicBezTo>
                <a:cubicBezTo>
                  <a:pt x="621" y="772"/>
                  <a:pt x="622" y="756"/>
                  <a:pt x="622" y="756"/>
                </a:cubicBezTo>
                <a:cubicBezTo>
                  <a:pt x="605" y="746"/>
                  <a:pt x="605" y="746"/>
                  <a:pt x="605" y="746"/>
                </a:cubicBezTo>
                <a:cubicBezTo>
                  <a:pt x="605" y="746"/>
                  <a:pt x="580" y="723"/>
                  <a:pt x="562" y="735"/>
                </a:cubicBezTo>
                <a:cubicBezTo>
                  <a:pt x="545" y="747"/>
                  <a:pt x="547" y="739"/>
                  <a:pt x="542" y="735"/>
                </a:cubicBezTo>
                <a:cubicBezTo>
                  <a:pt x="536" y="732"/>
                  <a:pt x="519" y="722"/>
                  <a:pt x="512" y="731"/>
                </a:cubicBezTo>
                <a:cubicBezTo>
                  <a:pt x="504" y="740"/>
                  <a:pt x="489" y="735"/>
                  <a:pt x="489" y="735"/>
                </a:cubicBezTo>
                <a:cubicBezTo>
                  <a:pt x="464" y="728"/>
                  <a:pt x="464" y="728"/>
                  <a:pt x="464" y="728"/>
                </a:cubicBezTo>
                <a:cubicBezTo>
                  <a:pt x="415" y="732"/>
                  <a:pt x="415" y="732"/>
                  <a:pt x="415" y="732"/>
                </a:cubicBezTo>
                <a:cubicBezTo>
                  <a:pt x="361" y="738"/>
                  <a:pt x="361" y="738"/>
                  <a:pt x="361" y="738"/>
                </a:cubicBezTo>
                <a:cubicBezTo>
                  <a:pt x="302" y="741"/>
                  <a:pt x="302" y="741"/>
                  <a:pt x="302" y="741"/>
                </a:cubicBezTo>
                <a:cubicBezTo>
                  <a:pt x="225" y="740"/>
                  <a:pt x="225" y="740"/>
                  <a:pt x="225" y="740"/>
                </a:cubicBezTo>
                <a:cubicBezTo>
                  <a:pt x="163" y="736"/>
                  <a:pt x="163" y="736"/>
                  <a:pt x="163" y="736"/>
                </a:cubicBezTo>
                <a:cubicBezTo>
                  <a:pt x="129" y="734"/>
                  <a:pt x="129" y="734"/>
                  <a:pt x="129" y="734"/>
                </a:cubicBezTo>
                <a:cubicBezTo>
                  <a:pt x="100" y="740"/>
                  <a:pt x="100" y="740"/>
                  <a:pt x="100" y="740"/>
                </a:cubicBezTo>
                <a:cubicBezTo>
                  <a:pt x="64" y="738"/>
                  <a:pt x="64" y="738"/>
                  <a:pt x="64" y="738"/>
                </a:cubicBezTo>
                <a:cubicBezTo>
                  <a:pt x="33" y="736"/>
                  <a:pt x="33" y="736"/>
                  <a:pt x="33" y="736"/>
                </a:cubicBezTo>
                <a:cubicBezTo>
                  <a:pt x="0" y="741"/>
                  <a:pt x="0" y="741"/>
                  <a:pt x="0" y="741"/>
                </a:cubicBezTo>
                <a:cubicBezTo>
                  <a:pt x="0" y="0"/>
                  <a:pt x="0" y="0"/>
                  <a:pt x="0" y="0"/>
                </a:cubicBezTo>
                <a:lnTo>
                  <a:pt x="1009" y="1"/>
                </a:lnTo>
                <a:close/>
              </a:path>
            </a:pathLst>
          </a:custGeom>
          <a:solidFill>
            <a:srgbClr val="808080">
              <a:lumMod val="20000"/>
              <a:lumOff val="80000"/>
            </a:srgbClr>
          </a:solidFill>
          <a:ln w="6350">
            <a:solidFill>
              <a:srgbClr val="91B0FF">
                <a:alpha val="75000"/>
              </a:srgbClr>
            </a:solidFill>
            <a:miter lim="800000"/>
            <a:headEnd/>
            <a:tailEnd/>
          </a:ln>
          <a:effectLst>
            <a:outerShdw blurRad="50800" dist="38100" dir="2700000" algn="tl" rotWithShape="0">
              <a:prstClr val="black">
                <a:alpha val="40000"/>
              </a:prstClr>
            </a:outerShdw>
          </a:effectLst>
        </p:spPr>
        <p:txBody>
          <a:bodyPr/>
          <a:lstStyle/>
          <a:p>
            <a:pPr marL="0" marR="0" lvl="0" indent="339725"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22" name="Pentagon 21"/>
          <p:cNvSpPr/>
          <p:nvPr/>
        </p:nvSpPr>
        <p:spPr>
          <a:xfrm rot="16200000">
            <a:off x="-972507" y="4042870"/>
            <a:ext cx="2880360" cy="585583"/>
          </a:xfrm>
          <a:prstGeom prst="homePlate">
            <a:avLst>
              <a:gd name="adj" fmla="val 19760"/>
            </a:avLst>
          </a:prstGeom>
          <a:solidFill>
            <a:srgbClr val="002960"/>
          </a:solidFill>
          <a:ln w="6350">
            <a:noFill/>
            <a:miter lim="800000"/>
            <a:headEnd/>
            <a:tailEnd/>
          </a:ln>
        </p:spPr>
        <p:txBody>
          <a:bodyPr lIns="72000" tIns="72000" rIns="7200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lang="en-US" sz="1300" b="1" kern="0" dirty="0">
                <a:solidFill>
                  <a:srgbClr val="FFFFFF"/>
                </a:solidFill>
                <a:latin typeface="Arial"/>
                <a:cs typeface="Arial" pitchFamily="34" charset="0"/>
              </a:rPr>
              <a:t>Investment-friendly environment</a:t>
            </a:r>
            <a:endParaRPr kumimoji="0" lang="en-US" sz="1300" b="1" i="0" u="none" strike="noStrike" kern="0" cap="none" spc="0" normalizeH="0" baseline="0" noProof="0" dirty="0">
              <a:ln>
                <a:noFill/>
              </a:ln>
              <a:solidFill>
                <a:srgbClr val="FFFFFF"/>
              </a:solidFill>
              <a:effectLst/>
              <a:uLnTx/>
              <a:uFillTx/>
              <a:latin typeface="Arial"/>
              <a:cs typeface="Arial" pitchFamily="34" charset="0"/>
            </a:endParaRPr>
          </a:p>
        </p:txBody>
      </p:sp>
      <p:pic>
        <p:nvPicPr>
          <p:cNvPr id="2" name="Picture 1" descr="ethiopia.png"/>
          <p:cNvPicPr>
            <a:picLocks/>
          </p:cNvPicPr>
          <p:nvPr/>
        </p:nvPicPr>
        <p:blipFill>
          <a:blip r:embed="rId4">
            <a:extLst>
              <a:ext uri="{28A0092B-C50C-407E-A947-70E740481C1C}">
                <a14:useLocalDpi xmlns:a14="http://schemas.microsoft.com/office/drawing/2010/main" val="0"/>
              </a:ext>
            </a:extLst>
          </a:blip>
          <a:stretch>
            <a:fillRect/>
          </a:stretch>
        </p:blipFill>
        <p:spPr>
          <a:xfrm>
            <a:off x="3557726" y="3093822"/>
            <a:ext cx="430491" cy="287995"/>
          </a:xfrm>
          <a:prstGeom prst="rect">
            <a:avLst/>
          </a:prstGeom>
        </p:spPr>
      </p:pic>
      <p:sp>
        <p:nvSpPr>
          <p:cNvPr id="27" name="Freeform 38" descr="textur5"/>
          <p:cNvSpPr>
            <a:spLocks/>
          </p:cNvSpPr>
          <p:nvPr/>
        </p:nvSpPr>
        <p:spPr bwMode="auto">
          <a:xfrm>
            <a:off x="6202478" y="1551785"/>
            <a:ext cx="2697480" cy="1233087"/>
          </a:xfrm>
          <a:custGeom>
            <a:avLst/>
            <a:gdLst>
              <a:gd name="T0" fmla="*/ 7610 w 1027"/>
              <a:gd name="T1" fmla="*/ 8 h 772"/>
              <a:gd name="T2" fmla="*/ 7668 w 1027"/>
              <a:gd name="T3" fmla="*/ 242 h 772"/>
              <a:gd name="T4" fmla="*/ 7710 w 1027"/>
              <a:gd name="T5" fmla="*/ 514 h 772"/>
              <a:gd name="T6" fmla="*/ 7688 w 1027"/>
              <a:gd name="T7" fmla="*/ 691 h 772"/>
              <a:gd name="T8" fmla="*/ 7605 w 1027"/>
              <a:gd name="T9" fmla="*/ 1011 h 772"/>
              <a:gd name="T10" fmla="*/ 7643 w 1027"/>
              <a:gd name="T11" fmla="*/ 1137 h 772"/>
              <a:gd name="T12" fmla="*/ 7529 w 1027"/>
              <a:gd name="T13" fmla="*/ 1446 h 772"/>
              <a:gd name="T14" fmla="*/ 7564 w 1027"/>
              <a:gd name="T15" fmla="*/ 1627 h 772"/>
              <a:gd name="T16" fmla="*/ 7383 w 1027"/>
              <a:gd name="T17" fmla="*/ 1718 h 772"/>
              <a:gd name="T18" fmla="*/ 7347 w 1027"/>
              <a:gd name="T19" fmla="*/ 1919 h 772"/>
              <a:gd name="T20" fmla="*/ 7401 w 1027"/>
              <a:gd name="T21" fmla="*/ 2111 h 772"/>
              <a:gd name="T22" fmla="*/ 7325 w 1027"/>
              <a:gd name="T23" fmla="*/ 2237 h 772"/>
              <a:gd name="T24" fmla="*/ 7342 w 1027"/>
              <a:gd name="T25" fmla="*/ 2442 h 772"/>
              <a:gd name="T26" fmla="*/ 7320 w 1027"/>
              <a:gd name="T27" fmla="*/ 2666 h 772"/>
              <a:gd name="T28" fmla="*/ 7250 w 1027"/>
              <a:gd name="T29" fmla="*/ 2775 h 772"/>
              <a:gd name="T30" fmla="*/ 7272 w 1027"/>
              <a:gd name="T31" fmla="*/ 3019 h 772"/>
              <a:gd name="T32" fmla="*/ 7242 w 1027"/>
              <a:gd name="T33" fmla="*/ 3193 h 772"/>
              <a:gd name="T34" fmla="*/ 7297 w 1027"/>
              <a:gd name="T35" fmla="*/ 3370 h 772"/>
              <a:gd name="T36" fmla="*/ 7196 w 1027"/>
              <a:gd name="T37" fmla="*/ 3532 h 772"/>
              <a:gd name="T38" fmla="*/ 7174 w 1027"/>
              <a:gd name="T39" fmla="*/ 3738 h 772"/>
              <a:gd name="T40" fmla="*/ 7113 w 1027"/>
              <a:gd name="T41" fmla="*/ 3842 h 772"/>
              <a:gd name="T42" fmla="*/ 7151 w 1027"/>
              <a:gd name="T43" fmla="*/ 3970 h 772"/>
              <a:gd name="T44" fmla="*/ 7105 w 1027"/>
              <a:gd name="T45" fmla="*/ 4037 h 772"/>
              <a:gd name="T46" fmla="*/ 7096 w 1027"/>
              <a:gd name="T47" fmla="*/ 4279 h 772"/>
              <a:gd name="T48" fmla="*/ 7159 w 1027"/>
              <a:gd name="T49" fmla="*/ 4467 h 772"/>
              <a:gd name="T50" fmla="*/ 7217 w 1027"/>
              <a:gd name="T51" fmla="*/ 4564 h 772"/>
              <a:gd name="T52" fmla="*/ 7272 w 1027"/>
              <a:gd name="T53" fmla="*/ 4752 h 772"/>
              <a:gd name="T54" fmla="*/ 7368 w 1027"/>
              <a:gd name="T55" fmla="*/ 4897 h 772"/>
              <a:gd name="T56" fmla="*/ 7471 w 1027"/>
              <a:gd name="T57" fmla="*/ 5081 h 772"/>
              <a:gd name="T58" fmla="*/ 7391 w 1027"/>
              <a:gd name="T59" fmla="*/ 5229 h 772"/>
              <a:gd name="T60" fmla="*/ 7120 w 1027"/>
              <a:gd name="T61" fmla="*/ 5311 h 772"/>
              <a:gd name="T62" fmla="*/ 6941 w 1027"/>
              <a:gd name="T63" fmla="*/ 5366 h 772"/>
              <a:gd name="T64" fmla="*/ 6614 w 1027"/>
              <a:gd name="T65" fmla="*/ 5358 h 772"/>
              <a:gd name="T66" fmla="*/ 6380 w 1027"/>
              <a:gd name="T67" fmla="*/ 5530 h 772"/>
              <a:gd name="T68" fmla="*/ 6163 w 1027"/>
              <a:gd name="T69" fmla="*/ 5610 h 772"/>
              <a:gd name="T70" fmla="*/ 5976 w 1027"/>
              <a:gd name="T71" fmla="*/ 5621 h 772"/>
              <a:gd name="T72" fmla="*/ 5784 w 1027"/>
              <a:gd name="T73" fmla="*/ 5676 h 772"/>
              <a:gd name="T74" fmla="*/ 5597 w 1027"/>
              <a:gd name="T75" fmla="*/ 5717 h 772"/>
              <a:gd name="T76" fmla="*/ 5452 w 1027"/>
              <a:gd name="T77" fmla="*/ 5755 h 772"/>
              <a:gd name="T78" fmla="*/ 5227 w 1027"/>
              <a:gd name="T79" fmla="*/ 5704 h 772"/>
              <a:gd name="T80" fmla="*/ 4856 w 1027"/>
              <a:gd name="T81" fmla="*/ 5712 h 772"/>
              <a:gd name="T82" fmla="*/ 4693 w 1027"/>
              <a:gd name="T83" fmla="*/ 5693 h 772"/>
              <a:gd name="T84" fmla="*/ 4564 w 1027"/>
              <a:gd name="T85" fmla="*/ 5621 h 772"/>
              <a:gd name="T86" fmla="*/ 4238 w 1027"/>
              <a:gd name="T87" fmla="*/ 5538 h 772"/>
              <a:gd name="T88" fmla="*/ 4087 w 1027"/>
              <a:gd name="T89" fmla="*/ 5538 h 772"/>
              <a:gd name="T90" fmla="*/ 3865 w 1027"/>
              <a:gd name="T91" fmla="*/ 5505 h 772"/>
              <a:gd name="T92" fmla="*/ 3686 w 1027"/>
              <a:gd name="T93" fmla="*/ 5538 h 772"/>
              <a:gd name="T94" fmla="*/ 3498 w 1027"/>
              <a:gd name="T95" fmla="*/ 5484 h 772"/>
              <a:gd name="T96" fmla="*/ 3131 w 1027"/>
              <a:gd name="T97" fmla="*/ 5517 h 772"/>
              <a:gd name="T98" fmla="*/ 2721 w 1027"/>
              <a:gd name="T99" fmla="*/ 5562 h 772"/>
              <a:gd name="T100" fmla="*/ 2277 w 1027"/>
              <a:gd name="T101" fmla="*/ 5583 h 772"/>
              <a:gd name="T102" fmla="*/ 1697 w 1027"/>
              <a:gd name="T103" fmla="*/ 5575 h 772"/>
              <a:gd name="T104" fmla="*/ 1228 w 1027"/>
              <a:gd name="T105" fmla="*/ 5545 h 772"/>
              <a:gd name="T106" fmla="*/ 974 w 1027"/>
              <a:gd name="T107" fmla="*/ 5530 h 772"/>
              <a:gd name="T108" fmla="*/ 756 w 1027"/>
              <a:gd name="T109" fmla="*/ 5575 h 772"/>
              <a:gd name="T110" fmla="*/ 484 w 1027"/>
              <a:gd name="T111" fmla="*/ 5562 h 772"/>
              <a:gd name="T112" fmla="*/ 250 w 1027"/>
              <a:gd name="T113" fmla="*/ 5545 h 772"/>
              <a:gd name="T114" fmla="*/ 0 w 1027"/>
              <a:gd name="T115" fmla="*/ 5583 h 772"/>
              <a:gd name="T116" fmla="*/ 0 w 1027"/>
              <a:gd name="T117" fmla="*/ 0 h 772"/>
              <a:gd name="T118" fmla="*/ 7610 w 1027"/>
              <a:gd name="T119" fmla="*/ 8 h 7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27"/>
              <a:gd name="T181" fmla="*/ 0 h 772"/>
              <a:gd name="T182" fmla="*/ 1027 w 1027"/>
              <a:gd name="T183" fmla="*/ 772 h 7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27" h="772">
                <a:moveTo>
                  <a:pt x="1009" y="1"/>
                </a:moveTo>
                <a:cubicBezTo>
                  <a:pt x="1009" y="1"/>
                  <a:pt x="1027" y="15"/>
                  <a:pt x="1017" y="32"/>
                </a:cubicBezTo>
                <a:cubicBezTo>
                  <a:pt x="1008" y="48"/>
                  <a:pt x="1022" y="68"/>
                  <a:pt x="1022" y="68"/>
                </a:cubicBezTo>
                <a:cubicBezTo>
                  <a:pt x="1019" y="92"/>
                  <a:pt x="1019" y="92"/>
                  <a:pt x="1019" y="92"/>
                </a:cubicBezTo>
                <a:cubicBezTo>
                  <a:pt x="1008" y="134"/>
                  <a:pt x="1008" y="134"/>
                  <a:pt x="1008" y="134"/>
                </a:cubicBezTo>
                <a:cubicBezTo>
                  <a:pt x="1013" y="151"/>
                  <a:pt x="1013" y="151"/>
                  <a:pt x="1013" y="151"/>
                </a:cubicBezTo>
                <a:cubicBezTo>
                  <a:pt x="1013" y="151"/>
                  <a:pt x="996" y="189"/>
                  <a:pt x="998" y="192"/>
                </a:cubicBezTo>
                <a:cubicBezTo>
                  <a:pt x="1001" y="196"/>
                  <a:pt x="1003" y="216"/>
                  <a:pt x="1003" y="216"/>
                </a:cubicBezTo>
                <a:cubicBezTo>
                  <a:pt x="979" y="228"/>
                  <a:pt x="979" y="228"/>
                  <a:pt x="979" y="228"/>
                </a:cubicBezTo>
                <a:cubicBezTo>
                  <a:pt x="979" y="228"/>
                  <a:pt x="971" y="243"/>
                  <a:pt x="974" y="255"/>
                </a:cubicBezTo>
                <a:cubicBezTo>
                  <a:pt x="978" y="268"/>
                  <a:pt x="981" y="280"/>
                  <a:pt x="981" y="280"/>
                </a:cubicBezTo>
                <a:cubicBezTo>
                  <a:pt x="971" y="297"/>
                  <a:pt x="971" y="297"/>
                  <a:pt x="971" y="297"/>
                </a:cubicBezTo>
                <a:cubicBezTo>
                  <a:pt x="973" y="324"/>
                  <a:pt x="973" y="324"/>
                  <a:pt x="973" y="324"/>
                </a:cubicBezTo>
                <a:cubicBezTo>
                  <a:pt x="970" y="354"/>
                  <a:pt x="970" y="354"/>
                  <a:pt x="970" y="354"/>
                </a:cubicBezTo>
                <a:cubicBezTo>
                  <a:pt x="961" y="368"/>
                  <a:pt x="961" y="368"/>
                  <a:pt x="961" y="368"/>
                </a:cubicBezTo>
                <a:cubicBezTo>
                  <a:pt x="964" y="401"/>
                  <a:pt x="964" y="401"/>
                  <a:pt x="964" y="401"/>
                </a:cubicBezTo>
                <a:cubicBezTo>
                  <a:pt x="960" y="424"/>
                  <a:pt x="960" y="424"/>
                  <a:pt x="960" y="424"/>
                </a:cubicBezTo>
                <a:cubicBezTo>
                  <a:pt x="967" y="447"/>
                  <a:pt x="967" y="447"/>
                  <a:pt x="967" y="447"/>
                </a:cubicBezTo>
                <a:cubicBezTo>
                  <a:pt x="954" y="469"/>
                  <a:pt x="954" y="469"/>
                  <a:pt x="954" y="469"/>
                </a:cubicBezTo>
                <a:cubicBezTo>
                  <a:pt x="951" y="496"/>
                  <a:pt x="951" y="496"/>
                  <a:pt x="951" y="496"/>
                </a:cubicBezTo>
                <a:cubicBezTo>
                  <a:pt x="943" y="510"/>
                  <a:pt x="943" y="510"/>
                  <a:pt x="943" y="510"/>
                </a:cubicBezTo>
                <a:cubicBezTo>
                  <a:pt x="948" y="527"/>
                  <a:pt x="948" y="527"/>
                  <a:pt x="948" y="527"/>
                </a:cubicBezTo>
                <a:cubicBezTo>
                  <a:pt x="942" y="536"/>
                  <a:pt x="942" y="536"/>
                  <a:pt x="942" y="536"/>
                </a:cubicBezTo>
                <a:cubicBezTo>
                  <a:pt x="942" y="536"/>
                  <a:pt x="927" y="540"/>
                  <a:pt x="941" y="568"/>
                </a:cubicBezTo>
                <a:cubicBezTo>
                  <a:pt x="954" y="596"/>
                  <a:pt x="949" y="593"/>
                  <a:pt x="949" y="593"/>
                </a:cubicBezTo>
                <a:cubicBezTo>
                  <a:pt x="957" y="606"/>
                  <a:pt x="957" y="606"/>
                  <a:pt x="957" y="606"/>
                </a:cubicBezTo>
                <a:cubicBezTo>
                  <a:pt x="964" y="631"/>
                  <a:pt x="964" y="631"/>
                  <a:pt x="964" y="631"/>
                </a:cubicBezTo>
                <a:cubicBezTo>
                  <a:pt x="964" y="631"/>
                  <a:pt x="970" y="647"/>
                  <a:pt x="977" y="650"/>
                </a:cubicBezTo>
                <a:cubicBezTo>
                  <a:pt x="985" y="654"/>
                  <a:pt x="990" y="674"/>
                  <a:pt x="990" y="674"/>
                </a:cubicBezTo>
                <a:cubicBezTo>
                  <a:pt x="990" y="674"/>
                  <a:pt x="984" y="696"/>
                  <a:pt x="980" y="694"/>
                </a:cubicBezTo>
                <a:cubicBezTo>
                  <a:pt x="975" y="691"/>
                  <a:pt x="944" y="705"/>
                  <a:pt x="944" y="705"/>
                </a:cubicBezTo>
                <a:cubicBezTo>
                  <a:pt x="944" y="705"/>
                  <a:pt x="924" y="714"/>
                  <a:pt x="920" y="712"/>
                </a:cubicBezTo>
                <a:cubicBezTo>
                  <a:pt x="916" y="710"/>
                  <a:pt x="896" y="697"/>
                  <a:pt x="877" y="711"/>
                </a:cubicBezTo>
                <a:cubicBezTo>
                  <a:pt x="857" y="726"/>
                  <a:pt x="846" y="734"/>
                  <a:pt x="846" y="734"/>
                </a:cubicBezTo>
                <a:cubicBezTo>
                  <a:pt x="817" y="745"/>
                  <a:pt x="817" y="745"/>
                  <a:pt x="817" y="745"/>
                </a:cubicBezTo>
                <a:cubicBezTo>
                  <a:pt x="792" y="746"/>
                  <a:pt x="792" y="746"/>
                  <a:pt x="792" y="746"/>
                </a:cubicBezTo>
                <a:cubicBezTo>
                  <a:pt x="792" y="746"/>
                  <a:pt x="789" y="740"/>
                  <a:pt x="767" y="753"/>
                </a:cubicBezTo>
                <a:cubicBezTo>
                  <a:pt x="744" y="766"/>
                  <a:pt x="742" y="759"/>
                  <a:pt x="742" y="759"/>
                </a:cubicBezTo>
                <a:cubicBezTo>
                  <a:pt x="723" y="764"/>
                  <a:pt x="723" y="764"/>
                  <a:pt x="723" y="764"/>
                </a:cubicBezTo>
                <a:cubicBezTo>
                  <a:pt x="693" y="757"/>
                  <a:pt x="693" y="757"/>
                  <a:pt x="693" y="757"/>
                </a:cubicBezTo>
                <a:cubicBezTo>
                  <a:pt x="693" y="757"/>
                  <a:pt x="666" y="745"/>
                  <a:pt x="644" y="758"/>
                </a:cubicBezTo>
                <a:cubicBezTo>
                  <a:pt x="621" y="772"/>
                  <a:pt x="622" y="756"/>
                  <a:pt x="622" y="756"/>
                </a:cubicBezTo>
                <a:cubicBezTo>
                  <a:pt x="605" y="746"/>
                  <a:pt x="605" y="746"/>
                  <a:pt x="605" y="746"/>
                </a:cubicBezTo>
                <a:cubicBezTo>
                  <a:pt x="605" y="746"/>
                  <a:pt x="580" y="723"/>
                  <a:pt x="562" y="735"/>
                </a:cubicBezTo>
                <a:cubicBezTo>
                  <a:pt x="545" y="747"/>
                  <a:pt x="547" y="739"/>
                  <a:pt x="542" y="735"/>
                </a:cubicBezTo>
                <a:cubicBezTo>
                  <a:pt x="536" y="732"/>
                  <a:pt x="519" y="722"/>
                  <a:pt x="512" y="731"/>
                </a:cubicBezTo>
                <a:cubicBezTo>
                  <a:pt x="504" y="740"/>
                  <a:pt x="489" y="735"/>
                  <a:pt x="489" y="735"/>
                </a:cubicBezTo>
                <a:cubicBezTo>
                  <a:pt x="464" y="728"/>
                  <a:pt x="464" y="728"/>
                  <a:pt x="464" y="728"/>
                </a:cubicBezTo>
                <a:cubicBezTo>
                  <a:pt x="415" y="732"/>
                  <a:pt x="415" y="732"/>
                  <a:pt x="415" y="732"/>
                </a:cubicBezTo>
                <a:cubicBezTo>
                  <a:pt x="361" y="738"/>
                  <a:pt x="361" y="738"/>
                  <a:pt x="361" y="738"/>
                </a:cubicBezTo>
                <a:cubicBezTo>
                  <a:pt x="302" y="741"/>
                  <a:pt x="302" y="741"/>
                  <a:pt x="302" y="741"/>
                </a:cubicBezTo>
                <a:cubicBezTo>
                  <a:pt x="225" y="740"/>
                  <a:pt x="225" y="740"/>
                  <a:pt x="225" y="740"/>
                </a:cubicBezTo>
                <a:cubicBezTo>
                  <a:pt x="163" y="736"/>
                  <a:pt x="163" y="736"/>
                  <a:pt x="163" y="736"/>
                </a:cubicBezTo>
                <a:cubicBezTo>
                  <a:pt x="129" y="734"/>
                  <a:pt x="129" y="734"/>
                  <a:pt x="129" y="734"/>
                </a:cubicBezTo>
                <a:cubicBezTo>
                  <a:pt x="100" y="740"/>
                  <a:pt x="100" y="740"/>
                  <a:pt x="100" y="740"/>
                </a:cubicBezTo>
                <a:cubicBezTo>
                  <a:pt x="64" y="738"/>
                  <a:pt x="64" y="738"/>
                  <a:pt x="64" y="738"/>
                </a:cubicBezTo>
                <a:cubicBezTo>
                  <a:pt x="33" y="736"/>
                  <a:pt x="33" y="736"/>
                  <a:pt x="33" y="736"/>
                </a:cubicBezTo>
                <a:cubicBezTo>
                  <a:pt x="0" y="741"/>
                  <a:pt x="0" y="741"/>
                  <a:pt x="0" y="741"/>
                </a:cubicBezTo>
                <a:cubicBezTo>
                  <a:pt x="0" y="0"/>
                  <a:pt x="0" y="0"/>
                  <a:pt x="0" y="0"/>
                </a:cubicBezTo>
                <a:lnTo>
                  <a:pt x="1009" y="1"/>
                </a:lnTo>
                <a:close/>
              </a:path>
            </a:pathLst>
          </a:custGeom>
          <a:solidFill>
            <a:srgbClr val="808080">
              <a:lumMod val="20000"/>
              <a:lumOff val="80000"/>
            </a:srgbClr>
          </a:solidFill>
          <a:ln w="6350">
            <a:solidFill>
              <a:srgbClr val="91B0FF">
                <a:alpha val="75000"/>
              </a:srgbClr>
            </a:solidFill>
            <a:miter lim="800000"/>
            <a:headEnd/>
            <a:tailEnd/>
          </a:ln>
          <a:effectLst>
            <a:outerShdw blurRad="50800" dist="38100" dir="2700000" algn="tl" rotWithShape="0">
              <a:prstClr val="black">
                <a:alpha val="40000"/>
              </a:prstClr>
            </a:outerShdw>
          </a:effectLst>
        </p:spPr>
        <p:txBody>
          <a:bodyPr/>
          <a:lstStyle/>
          <a:p>
            <a:pPr marL="0" marR="0" lvl="0" indent="339725"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sp>
        <p:nvSpPr>
          <p:cNvPr id="29" name="TextBox 28"/>
          <p:cNvSpPr txBox="1"/>
          <p:nvPr/>
        </p:nvSpPr>
        <p:spPr>
          <a:xfrm>
            <a:off x="6202478" y="1848692"/>
            <a:ext cx="2941522" cy="738664"/>
          </a:xfrm>
          <a:prstGeom prst="rect">
            <a:avLst/>
          </a:prstGeom>
          <a:noFill/>
        </p:spPr>
        <p:txBody>
          <a:bodyPr wrap="square" rtlCol="0">
            <a:spAutoFit/>
          </a:bodyPr>
          <a:lstStyle/>
          <a:p>
            <a:r>
              <a:rPr lang="ru-RU" sz="1400" b="1" dirty="0" err="1"/>
              <a:t>Неквалифиц</a:t>
            </a:r>
            <a:r>
              <a:rPr lang="ru-RU" sz="1400" b="1" dirty="0"/>
              <a:t>. труд</a:t>
            </a:r>
            <a:r>
              <a:rPr lang="en-US" sz="1400" b="1" dirty="0">
                <a:solidFill>
                  <a:srgbClr val="000000"/>
                </a:solidFill>
              </a:rPr>
              <a:t>: </a:t>
            </a:r>
            <a:r>
              <a:rPr lang="en-US" sz="1400" dirty="0">
                <a:solidFill>
                  <a:srgbClr val="000000"/>
                </a:solidFill>
              </a:rPr>
              <a:t>2.5 – 5.0 $/</a:t>
            </a:r>
            <a:r>
              <a:rPr lang="ru-RU" sz="1400" dirty="0">
                <a:solidFill>
                  <a:srgbClr val="000000"/>
                </a:solidFill>
              </a:rPr>
              <a:t>день</a:t>
            </a:r>
            <a:endParaRPr lang="en-US" sz="1400" dirty="0">
              <a:solidFill>
                <a:srgbClr val="000000"/>
              </a:solidFill>
            </a:endParaRPr>
          </a:p>
          <a:p>
            <a:r>
              <a:rPr lang="ru-RU" sz="1400" b="1" dirty="0"/>
              <a:t>Тариф на </a:t>
            </a:r>
            <a:r>
              <a:rPr lang="ru-RU" sz="1400" b="1" dirty="0" err="1"/>
              <a:t>эл.энергию</a:t>
            </a:r>
            <a:r>
              <a:rPr lang="en-US" sz="1400" b="1" dirty="0">
                <a:solidFill>
                  <a:srgbClr val="000000"/>
                </a:solidFill>
              </a:rPr>
              <a:t>: </a:t>
            </a:r>
            <a:r>
              <a:rPr lang="en-US" sz="1400" dirty="0">
                <a:solidFill>
                  <a:srgbClr val="000000"/>
                </a:solidFill>
              </a:rPr>
              <a:t>13.41 </a:t>
            </a:r>
            <a:r>
              <a:rPr lang="en-US" sz="1400" dirty="0">
                <a:solidFill>
                  <a:srgbClr val="1A1A1A"/>
                </a:solidFill>
                <a:latin typeface="ArialMT"/>
              </a:rPr>
              <a:t>¢</a:t>
            </a:r>
            <a:r>
              <a:rPr lang="en-US" sz="1400" dirty="0">
                <a:solidFill>
                  <a:srgbClr val="1A1A1A"/>
                </a:solidFill>
              </a:rPr>
              <a:t>/kWh</a:t>
            </a:r>
            <a:r>
              <a:rPr lang="en-US" sz="1400" dirty="0">
                <a:solidFill>
                  <a:srgbClr val="000000"/>
                </a:solidFill>
              </a:rPr>
              <a:t> </a:t>
            </a:r>
          </a:p>
          <a:p>
            <a:r>
              <a:rPr lang="ru-RU" sz="1400" b="1" dirty="0">
                <a:solidFill>
                  <a:srgbClr val="000000"/>
                </a:solidFill>
              </a:rPr>
              <a:t>Фрахтовая ставка</a:t>
            </a:r>
            <a:r>
              <a:rPr lang="en-US" sz="1400" b="1" dirty="0">
                <a:solidFill>
                  <a:srgbClr val="000000"/>
                </a:solidFill>
              </a:rPr>
              <a:t>: </a:t>
            </a:r>
            <a:r>
              <a:rPr lang="en-US" sz="1400" dirty="0">
                <a:solidFill>
                  <a:srgbClr val="000000"/>
                </a:solidFill>
              </a:rPr>
              <a:t>1.5 $/</a:t>
            </a:r>
            <a:r>
              <a:rPr lang="ru-RU" sz="1400" dirty="0">
                <a:solidFill>
                  <a:srgbClr val="000000"/>
                </a:solidFill>
              </a:rPr>
              <a:t>кг</a:t>
            </a:r>
            <a:r>
              <a:rPr lang="en-US" sz="1400" dirty="0">
                <a:solidFill>
                  <a:srgbClr val="000000"/>
                </a:solidFill>
              </a:rPr>
              <a:t>	</a:t>
            </a:r>
          </a:p>
        </p:txBody>
      </p:sp>
      <p:pic>
        <p:nvPicPr>
          <p:cNvPr id="30" name="Picture 29" descr="kenya.png"/>
          <p:cNvPicPr>
            <a:picLocks/>
          </p:cNvPicPr>
          <p:nvPr/>
        </p:nvPicPr>
        <p:blipFill>
          <a:blip r:embed="rId5">
            <a:extLst>
              <a:ext uri="{28A0092B-C50C-407E-A947-70E740481C1C}">
                <a14:useLocalDpi xmlns:a14="http://schemas.microsoft.com/office/drawing/2010/main" val="0"/>
              </a:ext>
            </a:extLst>
          </a:blip>
          <a:stretch>
            <a:fillRect/>
          </a:stretch>
        </p:blipFill>
        <p:spPr>
          <a:xfrm>
            <a:off x="6202478" y="1560692"/>
            <a:ext cx="432000" cy="288000"/>
          </a:xfrm>
          <a:prstGeom prst="rect">
            <a:avLst/>
          </a:prstGeom>
        </p:spPr>
      </p:pic>
      <p:pic>
        <p:nvPicPr>
          <p:cNvPr id="4" name="Picture 3" descr="rwanda.png"/>
          <p:cNvPicPr>
            <a:picLocks/>
          </p:cNvPicPr>
          <p:nvPr/>
        </p:nvPicPr>
        <p:blipFill>
          <a:blip r:embed="rId6">
            <a:extLst>
              <a:ext uri="{28A0092B-C50C-407E-A947-70E740481C1C}">
                <a14:useLocalDpi xmlns:a14="http://schemas.microsoft.com/office/drawing/2010/main" val="0"/>
              </a:ext>
            </a:extLst>
          </a:blip>
          <a:stretch>
            <a:fillRect/>
          </a:stretch>
        </p:blipFill>
        <p:spPr>
          <a:xfrm>
            <a:off x="856927" y="1560692"/>
            <a:ext cx="432000" cy="288000"/>
          </a:xfrm>
          <a:prstGeom prst="rect">
            <a:avLst/>
          </a:prstGeom>
        </p:spPr>
      </p:pic>
      <p:pic>
        <p:nvPicPr>
          <p:cNvPr id="34" name="Picture 33" descr="rwanda.png"/>
          <p:cNvPicPr>
            <a:picLocks/>
          </p:cNvPicPr>
          <p:nvPr/>
        </p:nvPicPr>
        <p:blipFill>
          <a:blip r:embed="rId6">
            <a:extLst>
              <a:ext uri="{28A0092B-C50C-407E-A947-70E740481C1C}">
                <a14:useLocalDpi xmlns:a14="http://schemas.microsoft.com/office/drawing/2010/main" val="0"/>
              </a:ext>
            </a:extLst>
          </a:blip>
          <a:stretch>
            <a:fillRect/>
          </a:stretch>
        </p:blipFill>
        <p:spPr>
          <a:xfrm>
            <a:off x="862652" y="4529330"/>
            <a:ext cx="432000" cy="288000"/>
          </a:xfrm>
          <a:prstGeom prst="rect">
            <a:avLst/>
          </a:prstGeom>
        </p:spPr>
      </p:pic>
      <p:pic>
        <p:nvPicPr>
          <p:cNvPr id="35" name="Picture 34" descr="rwanda.png"/>
          <p:cNvPicPr>
            <a:picLocks/>
          </p:cNvPicPr>
          <p:nvPr/>
        </p:nvPicPr>
        <p:blipFill>
          <a:blip r:embed="rId6">
            <a:extLst>
              <a:ext uri="{28A0092B-C50C-407E-A947-70E740481C1C}">
                <a14:useLocalDpi xmlns:a14="http://schemas.microsoft.com/office/drawing/2010/main" val="0"/>
              </a:ext>
            </a:extLst>
          </a:blip>
          <a:stretch>
            <a:fillRect/>
          </a:stretch>
        </p:blipFill>
        <p:spPr>
          <a:xfrm>
            <a:off x="858737" y="3077462"/>
            <a:ext cx="432000" cy="288000"/>
          </a:xfrm>
          <a:prstGeom prst="rect">
            <a:avLst/>
          </a:prstGeom>
        </p:spPr>
      </p:pic>
      <p:pic>
        <p:nvPicPr>
          <p:cNvPr id="50" name="Picture 49" descr="ethiopia.png"/>
          <p:cNvPicPr>
            <a:picLocks/>
          </p:cNvPicPr>
          <p:nvPr/>
        </p:nvPicPr>
        <p:blipFill>
          <a:blip r:embed="rId4">
            <a:extLst>
              <a:ext uri="{28A0092B-C50C-407E-A947-70E740481C1C}">
                <a14:useLocalDpi xmlns:a14="http://schemas.microsoft.com/office/drawing/2010/main" val="0"/>
              </a:ext>
            </a:extLst>
          </a:blip>
          <a:stretch>
            <a:fillRect/>
          </a:stretch>
        </p:blipFill>
        <p:spPr>
          <a:xfrm>
            <a:off x="3557726" y="4529330"/>
            <a:ext cx="430491" cy="287995"/>
          </a:xfrm>
          <a:prstGeom prst="rect">
            <a:avLst/>
          </a:prstGeom>
        </p:spPr>
      </p:pic>
      <p:sp>
        <p:nvSpPr>
          <p:cNvPr id="51" name="Freeform 38" descr="textur5"/>
          <p:cNvSpPr>
            <a:spLocks/>
          </p:cNvSpPr>
          <p:nvPr/>
        </p:nvSpPr>
        <p:spPr bwMode="auto">
          <a:xfrm>
            <a:off x="6189360" y="4529330"/>
            <a:ext cx="2697480" cy="1233087"/>
          </a:xfrm>
          <a:custGeom>
            <a:avLst/>
            <a:gdLst>
              <a:gd name="T0" fmla="*/ 7610 w 1027"/>
              <a:gd name="T1" fmla="*/ 8 h 772"/>
              <a:gd name="T2" fmla="*/ 7668 w 1027"/>
              <a:gd name="T3" fmla="*/ 242 h 772"/>
              <a:gd name="T4" fmla="*/ 7710 w 1027"/>
              <a:gd name="T5" fmla="*/ 514 h 772"/>
              <a:gd name="T6" fmla="*/ 7688 w 1027"/>
              <a:gd name="T7" fmla="*/ 691 h 772"/>
              <a:gd name="T8" fmla="*/ 7605 w 1027"/>
              <a:gd name="T9" fmla="*/ 1011 h 772"/>
              <a:gd name="T10" fmla="*/ 7643 w 1027"/>
              <a:gd name="T11" fmla="*/ 1137 h 772"/>
              <a:gd name="T12" fmla="*/ 7529 w 1027"/>
              <a:gd name="T13" fmla="*/ 1446 h 772"/>
              <a:gd name="T14" fmla="*/ 7564 w 1027"/>
              <a:gd name="T15" fmla="*/ 1627 h 772"/>
              <a:gd name="T16" fmla="*/ 7383 w 1027"/>
              <a:gd name="T17" fmla="*/ 1718 h 772"/>
              <a:gd name="T18" fmla="*/ 7347 w 1027"/>
              <a:gd name="T19" fmla="*/ 1919 h 772"/>
              <a:gd name="T20" fmla="*/ 7401 w 1027"/>
              <a:gd name="T21" fmla="*/ 2111 h 772"/>
              <a:gd name="T22" fmla="*/ 7325 w 1027"/>
              <a:gd name="T23" fmla="*/ 2237 h 772"/>
              <a:gd name="T24" fmla="*/ 7342 w 1027"/>
              <a:gd name="T25" fmla="*/ 2442 h 772"/>
              <a:gd name="T26" fmla="*/ 7320 w 1027"/>
              <a:gd name="T27" fmla="*/ 2666 h 772"/>
              <a:gd name="T28" fmla="*/ 7250 w 1027"/>
              <a:gd name="T29" fmla="*/ 2775 h 772"/>
              <a:gd name="T30" fmla="*/ 7272 w 1027"/>
              <a:gd name="T31" fmla="*/ 3019 h 772"/>
              <a:gd name="T32" fmla="*/ 7242 w 1027"/>
              <a:gd name="T33" fmla="*/ 3193 h 772"/>
              <a:gd name="T34" fmla="*/ 7297 w 1027"/>
              <a:gd name="T35" fmla="*/ 3370 h 772"/>
              <a:gd name="T36" fmla="*/ 7196 w 1027"/>
              <a:gd name="T37" fmla="*/ 3532 h 772"/>
              <a:gd name="T38" fmla="*/ 7174 w 1027"/>
              <a:gd name="T39" fmla="*/ 3738 h 772"/>
              <a:gd name="T40" fmla="*/ 7113 w 1027"/>
              <a:gd name="T41" fmla="*/ 3842 h 772"/>
              <a:gd name="T42" fmla="*/ 7151 w 1027"/>
              <a:gd name="T43" fmla="*/ 3970 h 772"/>
              <a:gd name="T44" fmla="*/ 7105 w 1027"/>
              <a:gd name="T45" fmla="*/ 4037 h 772"/>
              <a:gd name="T46" fmla="*/ 7096 w 1027"/>
              <a:gd name="T47" fmla="*/ 4279 h 772"/>
              <a:gd name="T48" fmla="*/ 7159 w 1027"/>
              <a:gd name="T49" fmla="*/ 4467 h 772"/>
              <a:gd name="T50" fmla="*/ 7217 w 1027"/>
              <a:gd name="T51" fmla="*/ 4564 h 772"/>
              <a:gd name="T52" fmla="*/ 7272 w 1027"/>
              <a:gd name="T53" fmla="*/ 4752 h 772"/>
              <a:gd name="T54" fmla="*/ 7368 w 1027"/>
              <a:gd name="T55" fmla="*/ 4897 h 772"/>
              <a:gd name="T56" fmla="*/ 7471 w 1027"/>
              <a:gd name="T57" fmla="*/ 5081 h 772"/>
              <a:gd name="T58" fmla="*/ 7391 w 1027"/>
              <a:gd name="T59" fmla="*/ 5229 h 772"/>
              <a:gd name="T60" fmla="*/ 7120 w 1027"/>
              <a:gd name="T61" fmla="*/ 5311 h 772"/>
              <a:gd name="T62" fmla="*/ 6941 w 1027"/>
              <a:gd name="T63" fmla="*/ 5366 h 772"/>
              <a:gd name="T64" fmla="*/ 6614 w 1027"/>
              <a:gd name="T65" fmla="*/ 5358 h 772"/>
              <a:gd name="T66" fmla="*/ 6380 w 1027"/>
              <a:gd name="T67" fmla="*/ 5530 h 772"/>
              <a:gd name="T68" fmla="*/ 6163 w 1027"/>
              <a:gd name="T69" fmla="*/ 5610 h 772"/>
              <a:gd name="T70" fmla="*/ 5976 w 1027"/>
              <a:gd name="T71" fmla="*/ 5621 h 772"/>
              <a:gd name="T72" fmla="*/ 5784 w 1027"/>
              <a:gd name="T73" fmla="*/ 5676 h 772"/>
              <a:gd name="T74" fmla="*/ 5597 w 1027"/>
              <a:gd name="T75" fmla="*/ 5717 h 772"/>
              <a:gd name="T76" fmla="*/ 5452 w 1027"/>
              <a:gd name="T77" fmla="*/ 5755 h 772"/>
              <a:gd name="T78" fmla="*/ 5227 w 1027"/>
              <a:gd name="T79" fmla="*/ 5704 h 772"/>
              <a:gd name="T80" fmla="*/ 4856 w 1027"/>
              <a:gd name="T81" fmla="*/ 5712 h 772"/>
              <a:gd name="T82" fmla="*/ 4693 w 1027"/>
              <a:gd name="T83" fmla="*/ 5693 h 772"/>
              <a:gd name="T84" fmla="*/ 4564 w 1027"/>
              <a:gd name="T85" fmla="*/ 5621 h 772"/>
              <a:gd name="T86" fmla="*/ 4238 w 1027"/>
              <a:gd name="T87" fmla="*/ 5538 h 772"/>
              <a:gd name="T88" fmla="*/ 4087 w 1027"/>
              <a:gd name="T89" fmla="*/ 5538 h 772"/>
              <a:gd name="T90" fmla="*/ 3865 w 1027"/>
              <a:gd name="T91" fmla="*/ 5505 h 772"/>
              <a:gd name="T92" fmla="*/ 3686 w 1027"/>
              <a:gd name="T93" fmla="*/ 5538 h 772"/>
              <a:gd name="T94" fmla="*/ 3498 w 1027"/>
              <a:gd name="T95" fmla="*/ 5484 h 772"/>
              <a:gd name="T96" fmla="*/ 3131 w 1027"/>
              <a:gd name="T97" fmla="*/ 5517 h 772"/>
              <a:gd name="T98" fmla="*/ 2721 w 1027"/>
              <a:gd name="T99" fmla="*/ 5562 h 772"/>
              <a:gd name="T100" fmla="*/ 2277 w 1027"/>
              <a:gd name="T101" fmla="*/ 5583 h 772"/>
              <a:gd name="T102" fmla="*/ 1697 w 1027"/>
              <a:gd name="T103" fmla="*/ 5575 h 772"/>
              <a:gd name="T104" fmla="*/ 1228 w 1027"/>
              <a:gd name="T105" fmla="*/ 5545 h 772"/>
              <a:gd name="T106" fmla="*/ 974 w 1027"/>
              <a:gd name="T107" fmla="*/ 5530 h 772"/>
              <a:gd name="T108" fmla="*/ 756 w 1027"/>
              <a:gd name="T109" fmla="*/ 5575 h 772"/>
              <a:gd name="T110" fmla="*/ 484 w 1027"/>
              <a:gd name="T111" fmla="*/ 5562 h 772"/>
              <a:gd name="T112" fmla="*/ 250 w 1027"/>
              <a:gd name="T113" fmla="*/ 5545 h 772"/>
              <a:gd name="T114" fmla="*/ 0 w 1027"/>
              <a:gd name="T115" fmla="*/ 5583 h 772"/>
              <a:gd name="T116" fmla="*/ 0 w 1027"/>
              <a:gd name="T117" fmla="*/ 0 h 772"/>
              <a:gd name="T118" fmla="*/ 7610 w 1027"/>
              <a:gd name="T119" fmla="*/ 8 h 7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27"/>
              <a:gd name="T181" fmla="*/ 0 h 772"/>
              <a:gd name="T182" fmla="*/ 1027 w 1027"/>
              <a:gd name="T183" fmla="*/ 772 h 7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27" h="772">
                <a:moveTo>
                  <a:pt x="1009" y="1"/>
                </a:moveTo>
                <a:cubicBezTo>
                  <a:pt x="1009" y="1"/>
                  <a:pt x="1027" y="15"/>
                  <a:pt x="1017" y="32"/>
                </a:cubicBezTo>
                <a:cubicBezTo>
                  <a:pt x="1008" y="48"/>
                  <a:pt x="1022" y="68"/>
                  <a:pt x="1022" y="68"/>
                </a:cubicBezTo>
                <a:cubicBezTo>
                  <a:pt x="1019" y="92"/>
                  <a:pt x="1019" y="92"/>
                  <a:pt x="1019" y="92"/>
                </a:cubicBezTo>
                <a:cubicBezTo>
                  <a:pt x="1008" y="134"/>
                  <a:pt x="1008" y="134"/>
                  <a:pt x="1008" y="134"/>
                </a:cubicBezTo>
                <a:cubicBezTo>
                  <a:pt x="1013" y="151"/>
                  <a:pt x="1013" y="151"/>
                  <a:pt x="1013" y="151"/>
                </a:cubicBezTo>
                <a:cubicBezTo>
                  <a:pt x="1013" y="151"/>
                  <a:pt x="996" y="189"/>
                  <a:pt x="998" y="192"/>
                </a:cubicBezTo>
                <a:cubicBezTo>
                  <a:pt x="1001" y="196"/>
                  <a:pt x="1003" y="216"/>
                  <a:pt x="1003" y="216"/>
                </a:cubicBezTo>
                <a:cubicBezTo>
                  <a:pt x="979" y="228"/>
                  <a:pt x="979" y="228"/>
                  <a:pt x="979" y="228"/>
                </a:cubicBezTo>
                <a:cubicBezTo>
                  <a:pt x="979" y="228"/>
                  <a:pt x="971" y="243"/>
                  <a:pt x="974" y="255"/>
                </a:cubicBezTo>
                <a:cubicBezTo>
                  <a:pt x="978" y="268"/>
                  <a:pt x="981" y="280"/>
                  <a:pt x="981" y="280"/>
                </a:cubicBezTo>
                <a:cubicBezTo>
                  <a:pt x="971" y="297"/>
                  <a:pt x="971" y="297"/>
                  <a:pt x="971" y="297"/>
                </a:cubicBezTo>
                <a:cubicBezTo>
                  <a:pt x="973" y="324"/>
                  <a:pt x="973" y="324"/>
                  <a:pt x="973" y="324"/>
                </a:cubicBezTo>
                <a:cubicBezTo>
                  <a:pt x="970" y="354"/>
                  <a:pt x="970" y="354"/>
                  <a:pt x="970" y="354"/>
                </a:cubicBezTo>
                <a:cubicBezTo>
                  <a:pt x="961" y="368"/>
                  <a:pt x="961" y="368"/>
                  <a:pt x="961" y="368"/>
                </a:cubicBezTo>
                <a:cubicBezTo>
                  <a:pt x="964" y="401"/>
                  <a:pt x="964" y="401"/>
                  <a:pt x="964" y="401"/>
                </a:cubicBezTo>
                <a:cubicBezTo>
                  <a:pt x="960" y="424"/>
                  <a:pt x="960" y="424"/>
                  <a:pt x="960" y="424"/>
                </a:cubicBezTo>
                <a:cubicBezTo>
                  <a:pt x="967" y="447"/>
                  <a:pt x="967" y="447"/>
                  <a:pt x="967" y="447"/>
                </a:cubicBezTo>
                <a:cubicBezTo>
                  <a:pt x="954" y="469"/>
                  <a:pt x="954" y="469"/>
                  <a:pt x="954" y="469"/>
                </a:cubicBezTo>
                <a:cubicBezTo>
                  <a:pt x="951" y="496"/>
                  <a:pt x="951" y="496"/>
                  <a:pt x="951" y="496"/>
                </a:cubicBezTo>
                <a:cubicBezTo>
                  <a:pt x="943" y="510"/>
                  <a:pt x="943" y="510"/>
                  <a:pt x="943" y="510"/>
                </a:cubicBezTo>
                <a:cubicBezTo>
                  <a:pt x="948" y="527"/>
                  <a:pt x="948" y="527"/>
                  <a:pt x="948" y="527"/>
                </a:cubicBezTo>
                <a:cubicBezTo>
                  <a:pt x="942" y="536"/>
                  <a:pt x="942" y="536"/>
                  <a:pt x="942" y="536"/>
                </a:cubicBezTo>
                <a:cubicBezTo>
                  <a:pt x="942" y="536"/>
                  <a:pt x="927" y="540"/>
                  <a:pt x="941" y="568"/>
                </a:cubicBezTo>
                <a:cubicBezTo>
                  <a:pt x="954" y="596"/>
                  <a:pt x="949" y="593"/>
                  <a:pt x="949" y="593"/>
                </a:cubicBezTo>
                <a:cubicBezTo>
                  <a:pt x="957" y="606"/>
                  <a:pt x="957" y="606"/>
                  <a:pt x="957" y="606"/>
                </a:cubicBezTo>
                <a:cubicBezTo>
                  <a:pt x="964" y="631"/>
                  <a:pt x="964" y="631"/>
                  <a:pt x="964" y="631"/>
                </a:cubicBezTo>
                <a:cubicBezTo>
                  <a:pt x="964" y="631"/>
                  <a:pt x="970" y="647"/>
                  <a:pt x="977" y="650"/>
                </a:cubicBezTo>
                <a:cubicBezTo>
                  <a:pt x="985" y="654"/>
                  <a:pt x="990" y="674"/>
                  <a:pt x="990" y="674"/>
                </a:cubicBezTo>
                <a:cubicBezTo>
                  <a:pt x="990" y="674"/>
                  <a:pt x="984" y="696"/>
                  <a:pt x="980" y="694"/>
                </a:cubicBezTo>
                <a:cubicBezTo>
                  <a:pt x="975" y="691"/>
                  <a:pt x="944" y="705"/>
                  <a:pt x="944" y="705"/>
                </a:cubicBezTo>
                <a:cubicBezTo>
                  <a:pt x="944" y="705"/>
                  <a:pt x="924" y="714"/>
                  <a:pt x="920" y="712"/>
                </a:cubicBezTo>
                <a:cubicBezTo>
                  <a:pt x="916" y="710"/>
                  <a:pt x="896" y="697"/>
                  <a:pt x="877" y="711"/>
                </a:cubicBezTo>
                <a:cubicBezTo>
                  <a:pt x="857" y="726"/>
                  <a:pt x="846" y="734"/>
                  <a:pt x="846" y="734"/>
                </a:cubicBezTo>
                <a:cubicBezTo>
                  <a:pt x="817" y="745"/>
                  <a:pt x="817" y="745"/>
                  <a:pt x="817" y="745"/>
                </a:cubicBezTo>
                <a:cubicBezTo>
                  <a:pt x="792" y="746"/>
                  <a:pt x="792" y="746"/>
                  <a:pt x="792" y="746"/>
                </a:cubicBezTo>
                <a:cubicBezTo>
                  <a:pt x="792" y="746"/>
                  <a:pt x="789" y="740"/>
                  <a:pt x="767" y="753"/>
                </a:cubicBezTo>
                <a:cubicBezTo>
                  <a:pt x="744" y="766"/>
                  <a:pt x="742" y="759"/>
                  <a:pt x="742" y="759"/>
                </a:cubicBezTo>
                <a:cubicBezTo>
                  <a:pt x="723" y="764"/>
                  <a:pt x="723" y="764"/>
                  <a:pt x="723" y="764"/>
                </a:cubicBezTo>
                <a:cubicBezTo>
                  <a:pt x="693" y="757"/>
                  <a:pt x="693" y="757"/>
                  <a:pt x="693" y="757"/>
                </a:cubicBezTo>
                <a:cubicBezTo>
                  <a:pt x="693" y="757"/>
                  <a:pt x="666" y="745"/>
                  <a:pt x="644" y="758"/>
                </a:cubicBezTo>
                <a:cubicBezTo>
                  <a:pt x="621" y="772"/>
                  <a:pt x="622" y="756"/>
                  <a:pt x="622" y="756"/>
                </a:cubicBezTo>
                <a:cubicBezTo>
                  <a:pt x="605" y="746"/>
                  <a:pt x="605" y="746"/>
                  <a:pt x="605" y="746"/>
                </a:cubicBezTo>
                <a:cubicBezTo>
                  <a:pt x="605" y="746"/>
                  <a:pt x="580" y="723"/>
                  <a:pt x="562" y="735"/>
                </a:cubicBezTo>
                <a:cubicBezTo>
                  <a:pt x="545" y="747"/>
                  <a:pt x="547" y="739"/>
                  <a:pt x="542" y="735"/>
                </a:cubicBezTo>
                <a:cubicBezTo>
                  <a:pt x="536" y="732"/>
                  <a:pt x="519" y="722"/>
                  <a:pt x="512" y="731"/>
                </a:cubicBezTo>
                <a:cubicBezTo>
                  <a:pt x="504" y="740"/>
                  <a:pt x="489" y="735"/>
                  <a:pt x="489" y="735"/>
                </a:cubicBezTo>
                <a:cubicBezTo>
                  <a:pt x="464" y="728"/>
                  <a:pt x="464" y="728"/>
                  <a:pt x="464" y="728"/>
                </a:cubicBezTo>
                <a:cubicBezTo>
                  <a:pt x="415" y="732"/>
                  <a:pt x="415" y="732"/>
                  <a:pt x="415" y="732"/>
                </a:cubicBezTo>
                <a:cubicBezTo>
                  <a:pt x="361" y="738"/>
                  <a:pt x="361" y="738"/>
                  <a:pt x="361" y="738"/>
                </a:cubicBezTo>
                <a:cubicBezTo>
                  <a:pt x="302" y="741"/>
                  <a:pt x="302" y="741"/>
                  <a:pt x="302" y="741"/>
                </a:cubicBezTo>
                <a:cubicBezTo>
                  <a:pt x="225" y="740"/>
                  <a:pt x="225" y="740"/>
                  <a:pt x="225" y="740"/>
                </a:cubicBezTo>
                <a:cubicBezTo>
                  <a:pt x="163" y="736"/>
                  <a:pt x="163" y="736"/>
                  <a:pt x="163" y="736"/>
                </a:cubicBezTo>
                <a:cubicBezTo>
                  <a:pt x="129" y="734"/>
                  <a:pt x="129" y="734"/>
                  <a:pt x="129" y="734"/>
                </a:cubicBezTo>
                <a:cubicBezTo>
                  <a:pt x="100" y="740"/>
                  <a:pt x="100" y="740"/>
                  <a:pt x="100" y="740"/>
                </a:cubicBezTo>
                <a:cubicBezTo>
                  <a:pt x="64" y="738"/>
                  <a:pt x="64" y="738"/>
                  <a:pt x="64" y="738"/>
                </a:cubicBezTo>
                <a:cubicBezTo>
                  <a:pt x="33" y="736"/>
                  <a:pt x="33" y="736"/>
                  <a:pt x="33" y="736"/>
                </a:cubicBezTo>
                <a:cubicBezTo>
                  <a:pt x="0" y="741"/>
                  <a:pt x="0" y="741"/>
                  <a:pt x="0" y="741"/>
                </a:cubicBezTo>
                <a:cubicBezTo>
                  <a:pt x="0" y="0"/>
                  <a:pt x="0" y="0"/>
                  <a:pt x="0" y="0"/>
                </a:cubicBezTo>
                <a:lnTo>
                  <a:pt x="1009" y="1"/>
                </a:lnTo>
                <a:close/>
              </a:path>
            </a:pathLst>
          </a:custGeom>
          <a:solidFill>
            <a:srgbClr val="808080">
              <a:lumMod val="20000"/>
              <a:lumOff val="80000"/>
            </a:srgbClr>
          </a:solidFill>
          <a:ln w="6350">
            <a:solidFill>
              <a:srgbClr val="91B0FF">
                <a:alpha val="75000"/>
              </a:srgbClr>
            </a:solidFill>
            <a:miter lim="800000"/>
            <a:headEnd/>
            <a:tailEnd/>
          </a:ln>
          <a:effectLst>
            <a:outerShdw blurRad="50800" dist="38100" dir="2700000" algn="tl" rotWithShape="0">
              <a:prstClr val="black">
                <a:alpha val="40000"/>
              </a:prstClr>
            </a:outerShdw>
          </a:effectLst>
        </p:spPr>
        <p:txBody>
          <a:bodyPr/>
          <a:lstStyle/>
          <a:p>
            <a:pPr marL="0" marR="0" lvl="0" indent="339725"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pic>
        <p:nvPicPr>
          <p:cNvPr id="53" name="Picture 52" descr="kenya.png"/>
          <p:cNvPicPr>
            <a:picLocks/>
          </p:cNvPicPr>
          <p:nvPr/>
        </p:nvPicPr>
        <p:blipFill>
          <a:blip r:embed="rId5">
            <a:extLst>
              <a:ext uri="{28A0092B-C50C-407E-A947-70E740481C1C}">
                <a14:useLocalDpi xmlns:a14="http://schemas.microsoft.com/office/drawing/2010/main" val="0"/>
              </a:ext>
            </a:extLst>
          </a:blip>
          <a:stretch>
            <a:fillRect/>
          </a:stretch>
        </p:blipFill>
        <p:spPr>
          <a:xfrm>
            <a:off x="6189360" y="4529330"/>
            <a:ext cx="432000" cy="288000"/>
          </a:xfrm>
          <a:prstGeom prst="rect">
            <a:avLst/>
          </a:prstGeom>
        </p:spPr>
      </p:pic>
      <p:pic>
        <p:nvPicPr>
          <p:cNvPr id="56" name="Picture 55" descr="ethiopia.png"/>
          <p:cNvPicPr>
            <a:picLocks/>
          </p:cNvPicPr>
          <p:nvPr/>
        </p:nvPicPr>
        <p:blipFill>
          <a:blip r:embed="rId4">
            <a:extLst>
              <a:ext uri="{28A0092B-C50C-407E-A947-70E740481C1C}">
                <a14:useLocalDpi xmlns:a14="http://schemas.microsoft.com/office/drawing/2010/main" val="0"/>
              </a:ext>
            </a:extLst>
          </a:blip>
          <a:stretch>
            <a:fillRect/>
          </a:stretch>
        </p:blipFill>
        <p:spPr>
          <a:xfrm>
            <a:off x="3504998" y="1551785"/>
            <a:ext cx="430491" cy="287995"/>
          </a:xfrm>
          <a:prstGeom prst="rect">
            <a:avLst/>
          </a:prstGeom>
        </p:spPr>
      </p:pic>
      <p:sp>
        <p:nvSpPr>
          <p:cNvPr id="57" name="Rectangle 14"/>
          <p:cNvSpPr>
            <a:spLocks noChangeArrowheads="1"/>
          </p:cNvSpPr>
          <p:nvPr/>
        </p:nvSpPr>
        <p:spPr bwMode="gray">
          <a:xfrm>
            <a:off x="318782" y="6489528"/>
            <a:ext cx="8439324" cy="302393"/>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6350" cap="rnd" algn="ctr">
                <a:solidFill>
                  <a:srgbClr val="ADABA1"/>
                </a:solidFill>
                <a:miter lim="800000"/>
                <a:headEnd/>
                <a:tailEnd/>
              </a14:hiddenLine>
            </a:ext>
          </a:extLst>
        </p:spPr>
        <p:txBody>
          <a:bodyPr wrap="square" lIns="0" tIns="0" rIns="0" bIns="0" anchor="b" anchorCtr="0">
            <a:noAutofit/>
          </a:bodyPr>
          <a:lstStyle/>
          <a:p>
            <a:pPr>
              <a:lnSpc>
                <a:spcPct val="90000"/>
              </a:lnSpc>
            </a:pPr>
            <a:r>
              <a:rPr lang="ru-RU" sz="1200" dirty="0">
                <a:latin typeface="Arial"/>
              </a:rPr>
              <a:t>*  </a:t>
            </a:r>
            <a:r>
              <a:rPr lang="ru-RU" sz="1200" b="1" dirty="0"/>
              <a:t>- Тарифы, установленные для средних отраслей производства </a:t>
            </a:r>
            <a:endParaRPr lang="en-GB" sz="1200" b="1" dirty="0"/>
          </a:p>
          <a:p>
            <a:pPr>
              <a:lnSpc>
                <a:spcPct val="90000"/>
              </a:lnSpc>
            </a:pPr>
            <a:r>
              <a:rPr lang="en-GB" sz="1200" b="1" dirty="0"/>
              <a:t>** </a:t>
            </a:r>
            <a:r>
              <a:rPr lang="ru-RU" sz="1200" b="1" dirty="0"/>
              <a:t>- отправление в Амстердам</a:t>
            </a:r>
            <a:r>
              <a:rPr lang="en-GB" sz="1200" b="1" dirty="0"/>
              <a:t> </a:t>
            </a:r>
            <a:r>
              <a:rPr lang="ru-RU" sz="1200" b="1" dirty="0"/>
              <a:t> 		 *** - среди стран южнее Сахары 		**** - согласно оценке агентства </a:t>
            </a:r>
            <a:r>
              <a:rPr lang="en-US" sz="1200" b="1" dirty="0"/>
              <a:t>S&amp;P</a:t>
            </a:r>
            <a:r>
              <a:rPr lang="ru-RU" sz="1200" b="1" dirty="0"/>
              <a:t> </a:t>
            </a:r>
            <a:r>
              <a:rPr lang="ru-RU" sz="1200" dirty="0"/>
              <a:t>	</a:t>
            </a:r>
            <a:endParaRPr lang="en-GB" sz="1200" dirty="0">
              <a:latin typeface="Arial"/>
            </a:endParaRPr>
          </a:p>
        </p:txBody>
      </p:sp>
      <p:sp>
        <p:nvSpPr>
          <p:cNvPr id="58" name="TextBox 57"/>
          <p:cNvSpPr txBox="1"/>
          <p:nvPr/>
        </p:nvSpPr>
        <p:spPr>
          <a:xfrm>
            <a:off x="860245" y="3375521"/>
            <a:ext cx="2694161" cy="738664"/>
          </a:xfrm>
          <a:prstGeom prst="rect">
            <a:avLst/>
          </a:prstGeom>
          <a:noFill/>
        </p:spPr>
        <p:txBody>
          <a:bodyPr wrap="square" rtlCol="0">
            <a:spAutoFit/>
          </a:bodyPr>
          <a:lstStyle/>
          <a:p>
            <a:r>
              <a:rPr lang="ru-RU" sz="1400" b="1" dirty="0"/>
              <a:t>Легкость ведения бизнеса***</a:t>
            </a:r>
            <a:r>
              <a:rPr lang="en-US" sz="1400" b="1" dirty="0"/>
              <a:t>: </a:t>
            </a:r>
            <a:r>
              <a:rPr lang="en-US" sz="1400" dirty="0"/>
              <a:t>2</a:t>
            </a:r>
            <a:endParaRPr lang="ru-RU" sz="1400" baseline="30000" dirty="0"/>
          </a:p>
          <a:p>
            <a:r>
              <a:rPr lang="ru-RU" sz="1400" b="1" dirty="0"/>
              <a:t>Кредитный рейтинг****</a:t>
            </a:r>
            <a:r>
              <a:rPr lang="en-US" sz="1400" b="1" dirty="0"/>
              <a:t>:</a:t>
            </a:r>
            <a:r>
              <a:rPr lang="en-US" sz="1400" dirty="0"/>
              <a:t> B+</a:t>
            </a:r>
          </a:p>
          <a:p>
            <a:r>
              <a:rPr lang="ru-RU" sz="1400" b="1" dirty="0"/>
              <a:t>Конкурентоспособность***</a:t>
            </a:r>
            <a:r>
              <a:rPr lang="en-US" sz="1400" b="1" dirty="0"/>
              <a:t>: </a:t>
            </a:r>
            <a:r>
              <a:rPr lang="en-US" sz="1400" dirty="0"/>
              <a:t>3</a:t>
            </a:r>
          </a:p>
        </p:txBody>
      </p:sp>
      <p:sp>
        <p:nvSpPr>
          <p:cNvPr id="59" name="TextBox 58"/>
          <p:cNvSpPr txBox="1"/>
          <p:nvPr/>
        </p:nvSpPr>
        <p:spPr>
          <a:xfrm>
            <a:off x="3554405" y="3373716"/>
            <a:ext cx="2545441" cy="738664"/>
          </a:xfrm>
          <a:prstGeom prst="rect">
            <a:avLst/>
          </a:prstGeom>
          <a:noFill/>
        </p:spPr>
        <p:txBody>
          <a:bodyPr wrap="square" rtlCol="0">
            <a:spAutoFit/>
          </a:bodyPr>
          <a:lstStyle/>
          <a:p>
            <a:r>
              <a:rPr lang="ru-RU" sz="1400" b="1" dirty="0"/>
              <a:t>Легкость ведения бизнеса</a:t>
            </a:r>
            <a:r>
              <a:rPr lang="en-US" sz="1400" b="1" dirty="0"/>
              <a:t>: </a:t>
            </a:r>
            <a:r>
              <a:rPr lang="en-US" sz="1400" dirty="0"/>
              <a:t>29</a:t>
            </a:r>
          </a:p>
          <a:p>
            <a:r>
              <a:rPr lang="ru-RU" sz="1400" b="1" dirty="0"/>
              <a:t>Кредитный рейтинг</a:t>
            </a:r>
            <a:r>
              <a:rPr lang="en-US" sz="1400" b="1" dirty="0"/>
              <a:t>:</a:t>
            </a:r>
            <a:r>
              <a:rPr lang="en-US" sz="1400" dirty="0"/>
              <a:t> B</a:t>
            </a:r>
          </a:p>
          <a:p>
            <a:r>
              <a:rPr lang="ru-RU" sz="1400" b="1" dirty="0"/>
              <a:t>Конкурентоспособность</a:t>
            </a:r>
            <a:r>
              <a:rPr lang="en-US" sz="1400" b="1" dirty="0"/>
              <a:t>: </a:t>
            </a:r>
            <a:r>
              <a:rPr lang="en-US" sz="1400" dirty="0"/>
              <a:t>10</a:t>
            </a:r>
          </a:p>
        </p:txBody>
      </p:sp>
      <p:sp>
        <p:nvSpPr>
          <p:cNvPr id="61" name="TextBox 60"/>
          <p:cNvSpPr txBox="1"/>
          <p:nvPr/>
        </p:nvSpPr>
        <p:spPr>
          <a:xfrm>
            <a:off x="862652" y="4843361"/>
            <a:ext cx="2826025" cy="738664"/>
          </a:xfrm>
          <a:prstGeom prst="rect">
            <a:avLst/>
          </a:prstGeom>
          <a:noFill/>
        </p:spPr>
        <p:txBody>
          <a:bodyPr wrap="square" rtlCol="0">
            <a:spAutoFit/>
          </a:bodyPr>
          <a:lstStyle/>
          <a:p>
            <a:r>
              <a:rPr lang="ru-RU" sz="1400" b="1" dirty="0"/>
              <a:t>Уровень грамотности</a:t>
            </a:r>
            <a:r>
              <a:rPr lang="en-US" sz="1400" b="1" dirty="0"/>
              <a:t>:</a:t>
            </a:r>
            <a:r>
              <a:rPr lang="en-US" sz="1400" dirty="0"/>
              <a:t> 70.5%</a:t>
            </a:r>
          </a:p>
          <a:p>
            <a:r>
              <a:rPr lang="ru-RU" sz="1400" b="1" dirty="0" err="1"/>
              <a:t>Физич</a:t>
            </a:r>
            <a:r>
              <a:rPr lang="ru-RU" sz="1400" b="1" dirty="0"/>
              <a:t>. безопасность</a:t>
            </a:r>
            <a:r>
              <a:rPr lang="en-US" sz="1400" b="1" dirty="0"/>
              <a:t>: </a:t>
            </a:r>
            <a:r>
              <a:rPr lang="en-US" sz="1400" dirty="0"/>
              <a:t>5 (</a:t>
            </a:r>
            <a:r>
              <a:rPr lang="ru-RU" sz="1400" dirty="0"/>
              <a:t>в мире</a:t>
            </a:r>
            <a:r>
              <a:rPr lang="en-US" sz="1400" dirty="0"/>
              <a:t>)</a:t>
            </a:r>
          </a:p>
          <a:p>
            <a:r>
              <a:rPr lang="ru-RU" sz="1400" b="1" dirty="0"/>
              <a:t>Экономическая свобода</a:t>
            </a:r>
            <a:r>
              <a:rPr lang="en-US" sz="1400" b="1" dirty="0"/>
              <a:t>:</a:t>
            </a:r>
            <a:r>
              <a:rPr lang="en-US" sz="1400" dirty="0"/>
              <a:t> 51</a:t>
            </a:r>
          </a:p>
        </p:txBody>
      </p:sp>
      <p:sp>
        <p:nvSpPr>
          <p:cNvPr id="36" name="Freeform 38" descr="textur5"/>
          <p:cNvSpPr>
            <a:spLocks/>
          </p:cNvSpPr>
          <p:nvPr/>
        </p:nvSpPr>
        <p:spPr bwMode="auto">
          <a:xfrm>
            <a:off x="6202478" y="3111257"/>
            <a:ext cx="2697480" cy="1233087"/>
          </a:xfrm>
          <a:custGeom>
            <a:avLst/>
            <a:gdLst>
              <a:gd name="T0" fmla="*/ 7610 w 1027"/>
              <a:gd name="T1" fmla="*/ 8 h 772"/>
              <a:gd name="T2" fmla="*/ 7668 w 1027"/>
              <a:gd name="T3" fmla="*/ 242 h 772"/>
              <a:gd name="T4" fmla="*/ 7710 w 1027"/>
              <a:gd name="T5" fmla="*/ 514 h 772"/>
              <a:gd name="T6" fmla="*/ 7688 w 1027"/>
              <a:gd name="T7" fmla="*/ 691 h 772"/>
              <a:gd name="T8" fmla="*/ 7605 w 1027"/>
              <a:gd name="T9" fmla="*/ 1011 h 772"/>
              <a:gd name="T10" fmla="*/ 7643 w 1027"/>
              <a:gd name="T11" fmla="*/ 1137 h 772"/>
              <a:gd name="T12" fmla="*/ 7529 w 1027"/>
              <a:gd name="T13" fmla="*/ 1446 h 772"/>
              <a:gd name="T14" fmla="*/ 7564 w 1027"/>
              <a:gd name="T15" fmla="*/ 1627 h 772"/>
              <a:gd name="T16" fmla="*/ 7383 w 1027"/>
              <a:gd name="T17" fmla="*/ 1718 h 772"/>
              <a:gd name="T18" fmla="*/ 7347 w 1027"/>
              <a:gd name="T19" fmla="*/ 1919 h 772"/>
              <a:gd name="T20" fmla="*/ 7401 w 1027"/>
              <a:gd name="T21" fmla="*/ 2111 h 772"/>
              <a:gd name="T22" fmla="*/ 7325 w 1027"/>
              <a:gd name="T23" fmla="*/ 2237 h 772"/>
              <a:gd name="T24" fmla="*/ 7342 w 1027"/>
              <a:gd name="T25" fmla="*/ 2442 h 772"/>
              <a:gd name="T26" fmla="*/ 7320 w 1027"/>
              <a:gd name="T27" fmla="*/ 2666 h 772"/>
              <a:gd name="T28" fmla="*/ 7250 w 1027"/>
              <a:gd name="T29" fmla="*/ 2775 h 772"/>
              <a:gd name="T30" fmla="*/ 7272 w 1027"/>
              <a:gd name="T31" fmla="*/ 3019 h 772"/>
              <a:gd name="T32" fmla="*/ 7242 w 1027"/>
              <a:gd name="T33" fmla="*/ 3193 h 772"/>
              <a:gd name="T34" fmla="*/ 7297 w 1027"/>
              <a:gd name="T35" fmla="*/ 3370 h 772"/>
              <a:gd name="T36" fmla="*/ 7196 w 1027"/>
              <a:gd name="T37" fmla="*/ 3532 h 772"/>
              <a:gd name="T38" fmla="*/ 7174 w 1027"/>
              <a:gd name="T39" fmla="*/ 3738 h 772"/>
              <a:gd name="T40" fmla="*/ 7113 w 1027"/>
              <a:gd name="T41" fmla="*/ 3842 h 772"/>
              <a:gd name="T42" fmla="*/ 7151 w 1027"/>
              <a:gd name="T43" fmla="*/ 3970 h 772"/>
              <a:gd name="T44" fmla="*/ 7105 w 1027"/>
              <a:gd name="T45" fmla="*/ 4037 h 772"/>
              <a:gd name="T46" fmla="*/ 7096 w 1027"/>
              <a:gd name="T47" fmla="*/ 4279 h 772"/>
              <a:gd name="T48" fmla="*/ 7159 w 1027"/>
              <a:gd name="T49" fmla="*/ 4467 h 772"/>
              <a:gd name="T50" fmla="*/ 7217 w 1027"/>
              <a:gd name="T51" fmla="*/ 4564 h 772"/>
              <a:gd name="T52" fmla="*/ 7272 w 1027"/>
              <a:gd name="T53" fmla="*/ 4752 h 772"/>
              <a:gd name="T54" fmla="*/ 7368 w 1027"/>
              <a:gd name="T55" fmla="*/ 4897 h 772"/>
              <a:gd name="T56" fmla="*/ 7471 w 1027"/>
              <a:gd name="T57" fmla="*/ 5081 h 772"/>
              <a:gd name="T58" fmla="*/ 7391 w 1027"/>
              <a:gd name="T59" fmla="*/ 5229 h 772"/>
              <a:gd name="T60" fmla="*/ 7120 w 1027"/>
              <a:gd name="T61" fmla="*/ 5311 h 772"/>
              <a:gd name="T62" fmla="*/ 6941 w 1027"/>
              <a:gd name="T63" fmla="*/ 5366 h 772"/>
              <a:gd name="T64" fmla="*/ 6614 w 1027"/>
              <a:gd name="T65" fmla="*/ 5358 h 772"/>
              <a:gd name="T66" fmla="*/ 6380 w 1027"/>
              <a:gd name="T67" fmla="*/ 5530 h 772"/>
              <a:gd name="T68" fmla="*/ 6163 w 1027"/>
              <a:gd name="T69" fmla="*/ 5610 h 772"/>
              <a:gd name="T70" fmla="*/ 5976 w 1027"/>
              <a:gd name="T71" fmla="*/ 5621 h 772"/>
              <a:gd name="T72" fmla="*/ 5784 w 1027"/>
              <a:gd name="T73" fmla="*/ 5676 h 772"/>
              <a:gd name="T74" fmla="*/ 5597 w 1027"/>
              <a:gd name="T75" fmla="*/ 5717 h 772"/>
              <a:gd name="T76" fmla="*/ 5452 w 1027"/>
              <a:gd name="T77" fmla="*/ 5755 h 772"/>
              <a:gd name="T78" fmla="*/ 5227 w 1027"/>
              <a:gd name="T79" fmla="*/ 5704 h 772"/>
              <a:gd name="T80" fmla="*/ 4856 w 1027"/>
              <a:gd name="T81" fmla="*/ 5712 h 772"/>
              <a:gd name="T82" fmla="*/ 4693 w 1027"/>
              <a:gd name="T83" fmla="*/ 5693 h 772"/>
              <a:gd name="T84" fmla="*/ 4564 w 1027"/>
              <a:gd name="T85" fmla="*/ 5621 h 772"/>
              <a:gd name="T86" fmla="*/ 4238 w 1027"/>
              <a:gd name="T87" fmla="*/ 5538 h 772"/>
              <a:gd name="T88" fmla="*/ 4087 w 1027"/>
              <a:gd name="T89" fmla="*/ 5538 h 772"/>
              <a:gd name="T90" fmla="*/ 3865 w 1027"/>
              <a:gd name="T91" fmla="*/ 5505 h 772"/>
              <a:gd name="T92" fmla="*/ 3686 w 1027"/>
              <a:gd name="T93" fmla="*/ 5538 h 772"/>
              <a:gd name="T94" fmla="*/ 3498 w 1027"/>
              <a:gd name="T95" fmla="*/ 5484 h 772"/>
              <a:gd name="T96" fmla="*/ 3131 w 1027"/>
              <a:gd name="T97" fmla="*/ 5517 h 772"/>
              <a:gd name="T98" fmla="*/ 2721 w 1027"/>
              <a:gd name="T99" fmla="*/ 5562 h 772"/>
              <a:gd name="T100" fmla="*/ 2277 w 1027"/>
              <a:gd name="T101" fmla="*/ 5583 h 772"/>
              <a:gd name="T102" fmla="*/ 1697 w 1027"/>
              <a:gd name="T103" fmla="*/ 5575 h 772"/>
              <a:gd name="T104" fmla="*/ 1228 w 1027"/>
              <a:gd name="T105" fmla="*/ 5545 h 772"/>
              <a:gd name="T106" fmla="*/ 974 w 1027"/>
              <a:gd name="T107" fmla="*/ 5530 h 772"/>
              <a:gd name="T108" fmla="*/ 756 w 1027"/>
              <a:gd name="T109" fmla="*/ 5575 h 772"/>
              <a:gd name="T110" fmla="*/ 484 w 1027"/>
              <a:gd name="T111" fmla="*/ 5562 h 772"/>
              <a:gd name="T112" fmla="*/ 250 w 1027"/>
              <a:gd name="T113" fmla="*/ 5545 h 772"/>
              <a:gd name="T114" fmla="*/ 0 w 1027"/>
              <a:gd name="T115" fmla="*/ 5583 h 772"/>
              <a:gd name="T116" fmla="*/ 0 w 1027"/>
              <a:gd name="T117" fmla="*/ 0 h 772"/>
              <a:gd name="T118" fmla="*/ 7610 w 1027"/>
              <a:gd name="T119" fmla="*/ 8 h 7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27"/>
              <a:gd name="T181" fmla="*/ 0 h 772"/>
              <a:gd name="T182" fmla="*/ 1027 w 1027"/>
              <a:gd name="T183" fmla="*/ 772 h 7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27" h="772">
                <a:moveTo>
                  <a:pt x="1009" y="1"/>
                </a:moveTo>
                <a:cubicBezTo>
                  <a:pt x="1009" y="1"/>
                  <a:pt x="1027" y="15"/>
                  <a:pt x="1017" y="32"/>
                </a:cubicBezTo>
                <a:cubicBezTo>
                  <a:pt x="1008" y="48"/>
                  <a:pt x="1022" y="68"/>
                  <a:pt x="1022" y="68"/>
                </a:cubicBezTo>
                <a:cubicBezTo>
                  <a:pt x="1019" y="92"/>
                  <a:pt x="1019" y="92"/>
                  <a:pt x="1019" y="92"/>
                </a:cubicBezTo>
                <a:cubicBezTo>
                  <a:pt x="1008" y="134"/>
                  <a:pt x="1008" y="134"/>
                  <a:pt x="1008" y="134"/>
                </a:cubicBezTo>
                <a:cubicBezTo>
                  <a:pt x="1013" y="151"/>
                  <a:pt x="1013" y="151"/>
                  <a:pt x="1013" y="151"/>
                </a:cubicBezTo>
                <a:cubicBezTo>
                  <a:pt x="1013" y="151"/>
                  <a:pt x="996" y="189"/>
                  <a:pt x="998" y="192"/>
                </a:cubicBezTo>
                <a:cubicBezTo>
                  <a:pt x="1001" y="196"/>
                  <a:pt x="1003" y="216"/>
                  <a:pt x="1003" y="216"/>
                </a:cubicBezTo>
                <a:cubicBezTo>
                  <a:pt x="979" y="228"/>
                  <a:pt x="979" y="228"/>
                  <a:pt x="979" y="228"/>
                </a:cubicBezTo>
                <a:cubicBezTo>
                  <a:pt x="979" y="228"/>
                  <a:pt x="971" y="243"/>
                  <a:pt x="974" y="255"/>
                </a:cubicBezTo>
                <a:cubicBezTo>
                  <a:pt x="978" y="268"/>
                  <a:pt x="981" y="280"/>
                  <a:pt x="981" y="280"/>
                </a:cubicBezTo>
                <a:cubicBezTo>
                  <a:pt x="971" y="297"/>
                  <a:pt x="971" y="297"/>
                  <a:pt x="971" y="297"/>
                </a:cubicBezTo>
                <a:cubicBezTo>
                  <a:pt x="973" y="324"/>
                  <a:pt x="973" y="324"/>
                  <a:pt x="973" y="324"/>
                </a:cubicBezTo>
                <a:cubicBezTo>
                  <a:pt x="970" y="354"/>
                  <a:pt x="970" y="354"/>
                  <a:pt x="970" y="354"/>
                </a:cubicBezTo>
                <a:cubicBezTo>
                  <a:pt x="961" y="368"/>
                  <a:pt x="961" y="368"/>
                  <a:pt x="961" y="368"/>
                </a:cubicBezTo>
                <a:cubicBezTo>
                  <a:pt x="964" y="401"/>
                  <a:pt x="964" y="401"/>
                  <a:pt x="964" y="401"/>
                </a:cubicBezTo>
                <a:cubicBezTo>
                  <a:pt x="960" y="424"/>
                  <a:pt x="960" y="424"/>
                  <a:pt x="960" y="424"/>
                </a:cubicBezTo>
                <a:cubicBezTo>
                  <a:pt x="967" y="447"/>
                  <a:pt x="967" y="447"/>
                  <a:pt x="967" y="447"/>
                </a:cubicBezTo>
                <a:cubicBezTo>
                  <a:pt x="954" y="469"/>
                  <a:pt x="954" y="469"/>
                  <a:pt x="954" y="469"/>
                </a:cubicBezTo>
                <a:cubicBezTo>
                  <a:pt x="951" y="496"/>
                  <a:pt x="951" y="496"/>
                  <a:pt x="951" y="496"/>
                </a:cubicBezTo>
                <a:cubicBezTo>
                  <a:pt x="943" y="510"/>
                  <a:pt x="943" y="510"/>
                  <a:pt x="943" y="510"/>
                </a:cubicBezTo>
                <a:cubicBezTo>
                  <a:pt x="948" y="527"/>
                  <a:pt x="948" y="527"/>
                  <a:pt x="948" y="527"/>
                </a:cubicBezTo>
                <a:cubicBezTo>
                  <a:pt x="942" y="536"/>
                  <a:pt x="942" y="536"/>
                  <a:pt x="942" y="536"/>
                </a:cubicBezTo>
                <a:cubicBezTo>
                  <a:pt x="942" y="536"/>
                  <a:pt x="927" y="540"/>
                  <a:pt x="941" y="568"/>
                </a:cubicBezTo>
                <a:cubicBezTo>
                  <a:pt x="954" y="596"/>
                  <a:pt x="949" y="593"/>
                  <a:pt x="949" y="593"/>
                </a:cubicBezTo>
                <a:cubicBezTo>
                  <a:pt x="957" y="606"/>
                  <a:pt x="957" y="606"/>
                  <a:pt x="957" y="606"/>
                </a:cubicBezTo>
                <a:cubicBezTo>
                  <a:pt x="964" y="631"/>
                  <a:pt x="964" y="631"/>
                  <a:pt x="964" y="631"/>
                </a:cubicBezTo>
                <a:cubicBezTo>
                  <a:pt x="964" y="631"/>
                  <a:pt x="970" y="647"/>
                  <a:pt x="977" y="650"/>
                </a:cubicBezTo>
                <a:cubicBezTo>
                  <a:pt x="985" y="654"/>
                  <a:pt x="990" y="674"/>
                  <a:pt x="990" y="674"/>
                </a:cubicBezTo>
                <a:cubicBezTo>
                  <a:pt x="990" y="674"/>
                  <a:pt x="984" y="696"/>
                  <a:pt x="980" y="694"/>
                </a:cubicBezTo>
                <a:cubicBezTo>
                  <a:pt x="975" y="691"/>
                  <a:pt x="944" y="705"/>
                  <a:pt x="944" y="705"/>
                </a:cubicBezTo>
                <a:cubicBezTo>
                  <a:pt x="944" y="705"/>
                  <a:pt x="924" y="714"/>
                  <a:pt x="920" y="712"/>
                </a:cubicBezTo>
                <a:cubicBezTo>
                  <a:pt x="916" y="710"/>
                  <a:pt x="896" y="697"/>
                  <a:pt x="877" y="711"/>
                </a:cubicBezTo>
                <a:cubicBezTo>
                  <a:pt x="857" y="726"/>
                  <a:pt x="846" y="734"/>
                  <a:pt x="846" y="734"/>
                </a:cubicBezTo>
                <a:cubicBezTo>
                  <a:pt x="817" y="745"/>
                  <a:pt x="817" y="745"/>
                  <a:pt x="817" y="745"/>
                </a:cubicBezTo>
                <a:cubicBezTo>
                  <a:pt x="792" y="746"/>
                  <a:pt x="792" y="746"/>
                  <a:pt x="792" y="746"/>
                </a:cubicBezTo>
                <a:cubicBezTo>
                  <a:pt x="792" y="746"/>
                  <a:pt x="789" y="740"/>
                  <a:pt x="767" y="753"/>
                </a:cubicBezTo>
                <a:cubicBezTo>
                  <a:pt x="744" y="766"/>
                  <a:pt x="742" y="759"/>
                  <a:pt x="742" y="759"/>
                </a:cubicBezTo>
                <a:cubicBezTo>
                  <a:pt x="723" y="764"/>
                  <a:pt x="723" y="764"/>
                  <a:pt x="723" y="764"/>
                </a:cubicBezTo>
                <a:cubicBezTo>
                  <a:pt x="693" y="757"/>
                  <a:pt x="693" y="757"/>
                  <a:pt x="693" y="757"/>
                </a:cubicBezTo>
                <a:cubicBezTo>
                  <a:pt x="693" y="757"/>
                  <a:pt x="666" y="745"/>
                  <a:pt x="644" y="758"/>
                </a:cubicBezTo>
                <a:cubicBezTo>
                  <a:pt x="621" y="772"/>
                  <a:pt x="622" y="756"/>
                  <a:pt x="622" y="756"/>
                </a:cubicBezTo>
                <a:cubicBezTo>
                  <a:pt x="605" y="746"/>
                  <a:pt x="605" y="746"/>
                  <a:pt x="605" y="746"/>
                </a:cubicBezTo>
                <a:cubicBezTo>
                  <a:pt x="605" y="746"/>
                  <a:pt x="580" y="723"/>
                  <a:pt x="562" y="735"/>
                </a:cubicBezTo>
                <a:cubicBezTo>
                  <a:pt x="545" y="747"/>
                  <a:pt x="547" y="739"/>
                  <a:pt x="542" y="735"/>
                </a:cubicBezTo>
                <a:cubicBezTo>
                  <a:pt x="536" y="732"/>
                  <a:pt x="519" y="722"/>
                  <a:pt x="512" y="731"/>
                </a:cubicBezTo>
                <a:cubicBezTo>
                  <a:pt x="504" y="740"/>
                  <a:pt x="489" y="735"/>
                  <a:pt x="489" y="735"/>
                </a:cubicBezTo>
                <a:cubicBezTo>
                  <a:pt x="464" y="728"/>
                  <a:pt x="464" y="728"/>
                  <a:pt x="464" y="728"/>
                </a:cubicBezTo>
                <a:cubicBezTo>
                  <a:pt x="415" y="732"/>
                  <a:pt x="415" y="732"/>
                  <a:pt x="415" y="732"/>
                </a:cubicBezTo>
                <a:cubicBezTo>
                  <a:pt x="361" y="738"/>
                  <a:pt x="361" y="738"/>
                  <a:pt x="361" y="738"/>
                </a:cubicBezTo>
                <a:cubicBezTo>
                  <a:pt x="302" y="741"/>
                  <a:pt x="302" y="741"/>
                  <a:pt x="302" y="741"/>
                </a:cubicBezTo>
                <a:cubicBezTo>
                  <a:pt x="225" y="740"/>
                  <a:pt x="225" y="740"/>
                  <a:pt x="225" y="740"/>
                </a:cubicBezTo>
                <a:cubicBezTo>
                  <a:pt x="163" y="736"/>
                  <a:pt x="163" y="736"/>
                  <a:pt x="163" y="736"/>
                </a:cubicBezTo>
                <a:cubicBezTo>
                  <a:pt x="129" y="734"/>
                  <a:pt x="129" y="734"/>
                  <a:pt x="129" y="734"/>
                </a:cubicBezTo>
                <a:cubicBezTo>
                  <a:pt x="100" y="740"/>
                  <a:pt x="100" y="740"/>
                  <a:pt x="100" y="740"/>
                </a:cubicBezTo>
                <a:cubicBezTo>
                  <a:pt x="64" y="738"/>
                  <a:pt x="64" y="738"/>
                  <a:pt x="64" y="738"/>
                </a:cubicBezTo>
                <a:cubicBezTo>
                  <a:pt x="33" y="736"/>
                  <a:pt x="33" y="736"/>
                  <a:pt x="33" y="736"/>
                </a:cubicBezTo>
                <a:cubicBezTo>
                  <a:pt x="0" y="741"/>
                  <a:pt x="0" y="741"/>
                  <a:pt x="0" y="741"/>
                </a:cubicBezTo>
                <a:cubicBezTo>
                  <a:pt x="0" y="0"/>
                  <a:pt x="0" y="0"/>
                  <a:pt x="0" y="0"/>
                </a:cubicBezTo>
                <a:lnTo>
                  <a:pt x="1009" y="1"/>
                </a:lnTo>
                <a:close/>
              </a:path>
            </a:pathLst>
          </a:custGeom>
          <a:solidFill>
            <a:srgbClr val="808080">
              <a:lumMod val="20000"/>
              <a:lumOff val="80000"/>
            </a:srgbClr>
          </a:solidFill>
          <a:ln w="6350">
            <a:solidFill>
              <a:srgbClr val="91B0FF">
                <a:alpha val="75000"/>
              </a:srgbClr>
            </a:solidFill>
            <a:miter lim="800000"/>
            <a:headEnd/>
            <a:tailEnd/>
          </a:ln>
          <a:effectLst>
            <a:outerShdw blurRad="50800" dist="38100" dir="2700000" algn="tl" rotWithShape="0">
              <a:prstClr val="black">
                <a:alpha val="40000"/>
              </a:prstClr>
            </a:outerShdw>
          </a:effectLst>
        </p:spPr>
        <p:txBody>
          <a:bodyPr/>
          <a:lstStyle/>
          <a:p>
            <a:pPr marL="0" marR="0" lvl="0" indent="339725"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endParaRPr>
          </a:p>
        </p:txBody>
      </p:sp>
      <p:pic>
        <p:nvPicPr>
          <p:cNvPr id="38" name="Picture 37" descr="kenya.png"/>
          <p:cNvPicPr>
            <a:picLocks/>
          </p:cNvPicPr>
          <p:nvPr/>
        </p:nvPicPr>
        <p:blipFill>
          <a:blip r:embed="rId5">
            <a:extLst>
              <a:ext uri="{28A0092B-C50C-407E-A947-70E740481C1C}">
                <a14:useLocalDpi xmlns:a14="http://schemas.microsoft.com/office/drawing/2010/main" val="0"/>
              </a:ext>
            </a:extLst>
          </a:blip>
          <a:stretch>
            <a:fillRect/>
          </a:stretch>
        </p:blipFill>
        <p:spPr>
          <a:xfrm>
            <a:off x="6202478" y="3111257"/>
            <a:ext cx="432000" cy="288000"/>
          </a:xfrm>
          <a:prstGeom prst="rect">
            <a:avLst/>
          </a:prstGeom>
        </p:spPr>
      </p:pic>
      <p:sp>
        <p:nvSpPr>
          <p:cNvPr id="41" name="TextBox 40"/>
          <p:cNvSpPr txBox="1"/>
          <p:nvPr/>
        </p:nvSpPr>
        <p:spPr>
          <a:xfrm>
            <a:off x="6202478" y="3375521"/>
            <a:ext cx="2614351" cy="738664"/>
          </a:xfrm>
          <a:prstGeom prst="rect">
            <a:avLst/>
          </a:prstGeom>
          <a:noFill/>
        </p:spPr>
        <p:txBody>
          <a:bodyPr wrap="square" rtlCol="0">
            <a:spAutoFit/>
          </a:bodyPr>
          <a:lstStyle/>
          <a:p>
            <a:r>
              <a:rPr lang="ru-RU" sz="1400" b="1" dirty="0"/>
              <a:t>Легкость ведения бизнеса</a:t>
            </a:r>
            <a:r>
              <a:rPr lang="en-US" sz="1400" b="1" dirty="0"/>
              <a:t>: </a:t>
            </a:r>
            <a:r>
              <a:rPr lang="en-US" sz="1400" dirty="0"/>
              <a:t>5</a:t>
            </a:r>
          </a:p>
          <a:p>
            <a:r>
              <a:rPr lang="ru-RU" sz="1400" b="1" dirty="0"/>
              <a:t>Кредитный рейтинг</a:t>
            </a:r>
            <a:r>
              <a:rPr lang="en-US" sz="1400" b="1" dirty="0"/>
              <a:t>: </a:t>
            </a:r>
            <a:r>
              <a:rPr lang="en-US" sz="1400" dirty="0"/>
              <a:t>B+</a:t>
            </a:r>
          </a:p>
          <a:p>
            <a:r>
              <a:rPr lang="ru-RU" sz="1400" b="1" dirty="0"/>
              <a:t>Конкурентоспособность</a:t>
            </a:r>
            <a:r>
              <a:rPr lang="en-US" sz="1400" b="1" dirty="0"/>
              <a:t>: </a:t>
            </a:r>
            <a:r>
              <a:rPr lang="en-US" sz="1400" dirty="0"/>
              <a:t>7</a:t>
            </a:r>
          </a:p>
        </p:txBody>
      </p:sp>
      <p:sp>
        <p:nvSpPr>
          <p:cNvPr id="46" name="TextBox 45"/>
          <p:cNvSpPr txBox="1"/>
          <p:nvPr/>
        </p:nvSpPr>
        <p:spPr>
          <a:xfrm>
            <a:off x="6255205" y="4838607"/>
            <a:ext cx="2434837" cy="738664"/>
          </a:xfrm>
          <a:prstGeom prst="rect">
            <a:avLst/>
          </a:prstGeom>
          <a:noFill/>
        </p:spPr>
        <p:txBody>
          <a:bodyPr wrap="square" rtlCol="0">
            <a:spAutoFit/>
          </a:bodyPr>
          <a:lstStyle/>
          <a:p>
            <a:r>
              <a:rPr lang="ru-RU" sz="1400" b="1" dirty="0"/>
              <a:t>Уровень грамотности</a:t>
            </a:r>
            <a:r>
              <a:rPr lang="en-US" sz="1400" b="1" dirty="0"/>
              <a:t>:</a:t>
            </a:r>
            <a:r>
              <a:rPr lang="en-US" sz="1400" dirty="0"/>
              <a:t> 78%</a:t>
            </a:r>
          </a:p>
          <a:p>
            <a:r>
              <a:rPr lang="ru-RU" sz="1400" b="1" dirty="0" err="1"/>
              <a:t>Физич</a:t>
            </a:r>
            <a:r>
              <a:rPr lang="ru-RU" sz="1400" b="1" dirty="0"/>
              <a:t>. безопасность</a:t>
            </a:r>
            <a:r>
              <a:rPr lang="en-US" sz="1400" b="1" dirty="0"/>
              <a:t>: </a:t>
            </a:r>
            <a:r>
              <a:rPr lang="en-US" sz="1400" dirty="0"/>
              <a:t>118</a:t>
            </a:r>
          </a:p>
          <a:p>
            <a:r>
              <a:rPr lang="ru-RU" sz="1400" b="1" dirty="0"/>
              <a:t>Экономическая свобода</a:t>
            </a:r>
            <a:r>
              <a:rPr lang="en-US" sz="1400" b="1" dirty="0"/>
              <a:t>: </a:t>
            </a:r>
            <a:r>
              <a:rPr lang="en-US" sz="1400" dirty="0"/>
              <a:t>135</a:t>
            </a:r>
          </a:p>
        </p:txBody>
      </p:sp>
    </p:spTree>
    <p:extLst>
      <p:ext uri="{BB962C8B-B14F-4D97-AF65-F5344CB8AC3E}">
        <p14:creationId xmlns:p14="http://schemas.microsoft.com/office/powerpoint/2010/main" val="25724364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descr="RDB logo.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72277" y="6085108"/>
            <a:ext cx="871723" cy="772892"/>
          </a:xfrm>
          <a:prstGeom prst="rect">
            <a:avLst/>
          </a:prstGeom>
        </p:spPr>
      </p:pic>
      <p:sp>
        <p:nvSpPr>
          <p:cNvPr id="5" name="Pentagon 4"/>
          <p:cNvSpPr/>
          <p:nvPr/>
        </p:nvSpPr>
        <p:spPr>
          <a:xfrm>
            <a:off x="480530" y="1739616"/>
            <a:ext cx="3924263" cy="411480"/>
          </a:xfrm>
          <a:prstGeom prst="homePlate">
            <a:avLst>
              <a:gd name="adj" fmla="val 19760"/>
            </a:avLst>
          </a:prstGeom>
          <a:solidFill>
            <a:srgbClr val="002960"/>
          </a:solidFill>
          <a:ln w="6350">
            <a:solidFill>
              <a:srgbClr val="002960"/>
            </a:solidFill>
            <a:miter lim="800000"/>
            <a:headEnd/>
            <a:tailEnd/>
          </a:ln>
        </p:spPr>
        <p:txBody>
          <a:bodyPr lIns="72000" tIns="72000" rIns="72000" bIns="72000" anchor="ctr"/>
          <a:lstStyle/>
          <a:p>
            <a:pPr marL="0" marR="0" lvl="0" indent="0" algn="ctr" defTabSz="914400" eaLnBrk="0" fontAlgn="auto" latinLnBrk="0" hangingPunct="0">
              <a:lnSpc>
                <a:spcPct val="90000"/>
              </a:lnSpc>
              <a:spcBef>
                <a:spcPct val="0"/>
              </a:spcBef>
              <a:spcAft>
                <a:spcPts val="0"/>
              </a:spcAft>
              <a:buClrTx/>
              <a:buSzTx/>
              <a:buFontTx/>
              <a:buNone/>
              <a:tabLst/>
              <a:defRPr/>
            </a:pPr>
            <a:r>
              <a:rPr lang="ru-RU" sz="1600" b="1" kern="0" dirty="0">
                <a:solidFill>
                  <a:srgbClr val="FFFFFF"/>
                </a:solidFill>
                <a:latin typeface="Arial"/>
                <a:cs typeface="Arial" pitchFamily="34" charset="0"/>
              </a:rPr>
              <a:t>Налоговые льготы</a:t>
            </a:r>
            <a:endParaRPr kumimoji="0" lang="en-US" sz="1600" b="1" i="0" u="none" strike="noStrike" kern="0" cap="none" spc="0" normalizeH="0" baseline="0" noProof="0" dirty="0">
              <a:ln>
                <a:noFill/>
              </a:ln>
              <a:solidFill>
                <a:srgbClr val="FFFFFF"/>
              </a:solidFill>
              <a:effectLst/>
              <a:uLnTx/>
              <a:uFillTx/>
              <a:latin typeface="Arial"/>
              <a:cs typeface="Arial" pitchFamily="34" charset="0"/>
            </a:endParaRPr>
          </a:p>
        </p:txBody>
      </p:sp>
      <p:sp>
        <p:nvSpPr>
          <p:cNvPr id="6" name="Rectangle 8"/>
          <p:cNvSpPr>
            <a:spLocks noChangeArrowheads="1"/>
          </p:cNvSpPr>
          <p:nvPr/>
        </p:nvSpPr>
        <p:spPr bwMode="gray">
          <a:xfrm>
            <a:off x="372436" y="2151097"/>
            <a:ext cx="3937776" cy="4325204"/>
          </a:xfrm>
          <a:prstGeom prst="rect">
            <a:avLst/>
          </a:prstGeom>
          <a:noFill/>
          <a:ln w="6350">
            <a:solidFill>
              <a:srgbClr val="002960"/>
            </a:solidFill>
            <a:miter lim="800000"/>
            <a:headEnd/>
            <a:tailEnd/>
          </a:ln>
        </p:spPr>
        <p:txBody>
          <a:bodyPr wrap="square" lIns="91440" tIns="91440" rIns="0" bIns="0" anchorCtr="0">
            <a:noAutofit/>
          </a:bodyPr>
          <a:lstStyle/>
          <a:p>
            <a:pPr marL="0" marR="0" lvl="0" indent="0" defTabSz="966788" eaLnBrk="0" fontAlgn="auto" latinLnBrk="0" hangingPunct="0">
              <a:lnSpc>
                <a:spcPct val="90000"/>
              </a:lnSpc>
              <a:spcBef>
                <a:spcPts val="900"/>
              </a:spcBef>
              <a:spcAft>
                <a:spcPts val="0"/>
              </a:spcAft>
              <a:buClr>
                <a:srgbClr val="FFFFFF"/>
              </a:buClr>
              <a:buSzPct val="100000"/>
              <a:buFontTx/>
              <a:buNone/>
              <a:tabLst/>
              <a:defRPr/>
            </a:pPr>
            <a:endParaRPr kumimoji="0" lang="en-US" sz="1200" b="0" i="0" u="none" strike="noStrike" kern="0" cap="none" spc="0" normalizeH="0" baseline="0" noProof="0" dirty="0">
              <a:ln>
                <a:noFill/>
              </a:ln>
              <a:solidFill>
                <a:sysClr val="windowText" lastClr="000000"/>
              </a:solidFill>
              <a:effectLst/>
              <a:uLnTx/>
              <a:uFillTx/>
              <a:latin typeface="Arial"/>
              <a:cs typeface="Arial" pitchFamily="34" charset="0"/>
            </a:endParaRPr>
          </a:p>
        </p:txBody>
      </p:sp>
      <p:sp>
        <p:nvSpPr>
          <p:cNvPr id="11" name="Rectangle 10"/>
          <p:cNvSpPr/>
          <p:nvPr/>
        </p:nvSpPr>
        <p:spPr>
          <a:xfrm>
            <a:off x="480530" y="2253234"/>
            <a:ext cx="3721699" cy="570197"/>
          </a:xfrm>
          <a:prstGeom prst="rect">
            <a:avLst/>
          </a:prstGeom>
          <a:solidFill>
            <a:srgbClr val="808080">
              <a:lumMod val="20000"/>
              <a:lumOff val="80000"/>
            </a:srgbClr>
          </a:solidFill>
        </p:spPr>
        <p:txBody>
          <a:bodyPr wrap="square" lIns="73152" tIns="73152" rIns="73152" bIns="73152" anchor="ctr">
            <a:noAutofit/>
          </a:bodyPr>
          <a:lstStyle/>
          <a:p>
            <a:pPr marL="0" marR="0" lvl="0" indent="0" defTabSz="914400" eaLnBrk="0" fontAlgn="auto" latinLnBrk="0" hangingPunct="0">
              <a:lnSpc>
                <a:spcPct val="90000"/>
              </a:lnSpc>
              <a:spcBef>
                <a:spcPts val="0"/>
              </a:spcBef>
              <a:spcAft>
                <a:spcPts val="0"/>
              </a:spcAft>
              <a:buClr>
                <a:srgbClr val="FFFFFF"/>
              </a:buClr>
              <a:buSzPct val="100000"/>
              <a:buFontTx/>
              <a:buNone/>
              <a:tabLst/>
              <a:defRPr/>
            </a:pPr>
            <a:r>
              <a:rPr kumimoji="0" lang="ru-RU" sz="1300" b="1" i="0" u="none" strike="noStrike" kern="0" cap="none" spc="0" normalizeH="0" baseline="0" noProof="0" dirty="0">
                <a:ln>
                  <a:noFill/>
                </a:ln>
                <a:solidFill>
                  <a:sysClr val="windowText" lastClr="000000"/>
                </a:solidFill>
                <a:effectLst/>
                <a:uLnTx/>
                <a:uFillTx/>
                <a:cs typeface="Arial" pitchFamily="34" charset="0"/>
              </a:rPr>
              <a:t>Нулевой налог на прибыль предприятий</a:t>
            </a:r>
            <a:r>
              <a:rPr lang="en-US" sz="1300" kern="0" noProof="0" dirty="0">
                <a:solidFill>
                  <a:sysClr val="windowText" lastClr="000000"/>
                </a:solidFill>
                <a:cs typeface="Arial" pitchFamily="34" charset="0"/>
              </a:rPr>
              <a:t>, </a:t>
            </a:r>
            <a:r>
              <a:rPr lang="ru-RU" sz="1200" kern="0" dirty="0">
                <a:solidFill>
                  <a:sysClr val="windowText" lastClr="000000"/>
                </a:solidFill>
                <a:cs typeface="Arial" pitchFamily="34" charset="0"/>
              </a:rPr>
              <a:t>для компаний, планирующих перенести их головные офисы в Руанду. </a:t>
            </a:r>
            <a:r>
              <a:rPr lang="en-US" sz="1200" kern="0" dirty="0">
                <a:solidFill>
                  <a:sysClr val="windowText" lastClr="000000"/>
                </a:solidFill>
                <a:cs typeface="Arial" pitchFamily="34" charset="0"/>
              </a:rPr>
              <a:t> </a:t>
            </a:r>
            <a:endParaRPr kumimoji="0" lang="en-US" sz="1400" b="1" i="0" u="none" strike="noStrike" kern="0" cap="none" spc="0" normalizeH="0" baseline="0" noProof="0" dirty="0">
              <a:ln>
                <a:noFill/>
              </a:ln>
              <a:solidFill>
                <a:sysClr val="windowText" lastClr="000000"/>
              </a:solidFill>
              <a:effectLst/>
              <a:uLnTx/>
              <a:uFillTx/>
              <a:cs typeface="Arial" pitchFamily="34" charset="0"/>
            </a:endParaRPr>
          </a:p>
        </p:txBody>
      </p:sp>
      <p:sp>
        <p:nvSpPr>
          <p:cNvPr id="12" name="Rectangle 11"/>
          <p:cNvSpPr/>
          <p:nvPr/>
        </p:nvSpPr>
        <p:spPr>
          <a:xfrm>
            <a:off x="480530" y="2919315"/>
            <a:ext cx="3721699" cy="775343"/>
          </a:xfrm>
          <a:prstGeom prst="rect">
            <a:avLst/>
          </a:prstGeom>
          <a:solidFill>
            <a:srgbClr val="808080">
              <a:lumMod val="20000"/>
              <a:lumOff val="80000"/>
            </a:srgbClr>
          </a:solidFill>
        </p:spPr>
        <p:txBody>
          <a:bodyPr wrap="square" lIns="73152" tIns="73152" rIns="73152" bIns="73152" anchor="ctr">
            <a:noAutofit/>
          </a:bodyPr>
          <a:lstStyle/>
          <a:p>
            <a:pPr defTabSz="914400" eaLnBrk="0" hangingPunct="0">
              <a:lnSpc>
                <a:spcPct val="90000"/>
              </a:lnSpc>
              <a:buClr>
                <a:srgbClr val="FFFFFF"/>
              </a:buClr>
              <a:buSzPct val="100000"/>
            </a:pPr>
            <a:r>
              <a:rPr kumimoji="0" lang="ru-RU" sz="1300" b="1" i="0" u="none" strike="noStrike" kern="0" cap="none" spc="0" normalizeH="0" baseline="0" noProof="0" dirty="0">
                <a:ln>
                  <a:noFill/>
                </a:ln>
                <a:solidFill>
                  <a:sysClr val="windowText" lastClr="000000"/>
                </a:solidFill>
                <a:effectLst/>
                <a:uLnTx/>
                <a:uFillTx/>
                <a:cs typeface="Arial" pitchFamily="34" charset="0"/>
              </a:rPr>
              <a:t>Преференциальный </a:t>
            </a:r>
            <a:r>
              <a:rPr lang="en-US" sz="1300" b="1" kern="0" dirty="0">
                <a:solidFill>
                  <a:sysClr val="windowText" lastClr="000000"/>
                </a:solidFill>
                <a:cs typeface="Arial" pitchFamily="34" charset="0"/>
              </a:rPr>
              <a:t>15%</a:t>
            </a:r>
            <a:r>
              <a:rPr lang="ru-RU" sz="1300" b="1" kern="0" dirty="0">
                <a:solidFill>
                  <a:sysClr val="windowText" lastClr="000000"/>
                </a:solidFill>
                <a:cs typeface="Arial" pitchFamily="34" charset="0"/>
              </a:rPr>
              <a:t> </a:t>
            </a:r>
            <a:r>
              <a:rPr kumimoji="0" lang="ru-RU" sz="1300" b="1" i="0" u="none" strike="noStrike" kern="0" cap="none" spc="0" normalizeH="0" baseline="0" noProof="0" dirty="0">
                <a:ln>
                  <a:noFill/>
                </a:ln>
                <a:solidFill>
                  <a:sysClr val="windowText" lastClr="000000"/>
                </a:solidFill>
                <a:effectLst/>
                <a:uLnTx/>
                <a:uFillTx/>
                <a:cs typeface="Arial" pitchFamily="34" charset="0"/>
              </a:rPr>
              <a:t>налог на прибыль предприятий</a:t>
            </a:r>
            <a:r>
              <a:rPr lang="en-US" sz="1200" kern="0" dirty="0">
                <a:solidFill>
                  <a:sysClr val="windowText" lastClr="000000"/>
                </a:solidFill>
                <a:cs typeface="Arial" pitchFamily="34" charset="0"/>
              </a:rPr>
              <a:t>, </a:t>
            </a:r>
            <a:r>
              <a:rPr lang="ru-RU" sz="1200" kern="0" dirty="0">
                <a:solidFill>
                  <a:sysClr val="windowText" lastClr="000000"/>
                </a:solidFill>
                <a:cs typeface="Arial" pitchFamily="34" charset="0"/>
              </a:rPr>
              <a:t>для инвестиций в приоритетные отрасли или экспорт не менее 50% в отраслях производства энергии</a:t>
            </a:r>
            <a:r>
              <a:rPr lang="en-US" sz="1200" kern="0" dirty="0">
                <a:solidFill>
                  <a:sysClr val="windowText" lastClr="000000"/>
                </a:solidFill>
                <a:cs typeface="Arial" pitchFamily="34" charset="0"/>
              </a:rPr>
              <a:t>, </a:t>
            </a:r>
            <a:r>
              <a:rPr lang="ru-RU" sz="1200" kern="0" dirty="0">
                <a:solidFill>
                  <a:sysClr val="windowText" lastClr="000000"/>
                </a:solidFill>
                <a:cs typeface="Arial" pitchFamily="34" charset="0"/>
              </a:rPr>
              <a:t>транспорта</a:t>
            </a:r>
            <a:r>
              <a:rPr lang="en-US" sz="1200" kern="0" dirty="0">
                <a:solidFill>
                  <a:sysClr val="windowText" lastClr="000000"/>
                </a:solidFill>
                <a:cs typeface="Arial" pitchFamily="34" charset="0"/>
              </a:rPr>
              <a:t>,</a:t>
            </a:r>
            <a:r>
              <a:rPr lang="ru-RU" sz="1200" kern="0" dirty="0">
                <a:solidFill>
                  <a:sysClr val="windowText" lastClr="000000"/>
                </a:solidFill>
                <a:cs typeface="Arial" pitchFamily="34" charset="0"/>
              </a:rPr>
              <a:t> строительства</a:t>
            </a:r>
            <a:r>
              <a:rPr lang="en-US" sz="1200" kern="0" dirty="0">
                <a:solidFill>
                  <a:sysClr val="windowText" lastClr="000000"/>
                </a:solidFill>
                <a:cs typeface="Arial" pitchFamily="34" charset="0"/>
              </a:rPr>
              <a:t> </a:t>
            </a:r>
            <a:r>
              <a:rPr lang="ru-RU" sz="1200" kern="0" dirty="0">
                <a:solidFill>
                  <a:sysClr val="windowText" lastClr="000000"/>
                </a:solidFill>
                <a:cs typeface="Arial" pitchFamily="34" charset="0"/>
              </a:rPr>
              <a:t>доступного жилья</a:t>
            </a:r>
            <a:r>
              <a:rPr lang="en-US" sz="1200" kern="0" dirty="0">
                <a:solidFill>
                  <a:sysClr val="windowText" lastClr="000000"/>
                </a:solidFill>
                <a:cs typeface="Arial" pitchFamily="34" charset="0"/>
              </a:rPr>
              <a:t>, </a:t>
            </a:r>
            <a:r>
              <a:rPr lang="ru-RU" sz="1200" kern="0" dirty="0">
                <a:solidFill>
                  <a:sysClr val="windowText" lastClr="000000"/>
                </a:solidFill>
                <a:cs typeface="Arial" pitchFamily="34" charset="0"/>
              </a:rPr>
              <a:t>ИКТ и финансовые услуги</a:t>
            </a:r>
            <a:endParaRPr kumimoji="0" lang="en-US" sz="1400" b="1" i="0" u="none" strike="noStrike" kern="0" cap="none" spc="0" normalizeH="0" baseline="0" noProof="0" dirty="0">
              <a:ln>
                <a:noFill/>
              </a:ln>
              <a:solidFill>
                <a:sysClr val="windowText" lastClr="000000"/>
              </a:solidFill>
              <a:effectLst/>
              <a:uLnTx/>
              <a:uFillTx/>
              <a:cs typeface="Arial" pitchFamily="34" charset="0"/>
            </a:endParaRPr>
          </a:p>
        </p:txBody>
      </p:sp>
      <p:sp>
        <p:nvSpPr>
          <p:cNvPr id="14" name="Rectangle 13"/>
          <p:cNvSpPr/>
          <p:nvPr/>
        </p:nvSpPr>
        <p:spPr>
          <a:xfrm>
            <a:off x="480530" y="3771509"/>
            <a:ext cx="3721699" cy="786771"/>
          </a:xfrm>
          <a:prstGeom prst="rect">
            <a:avLst/>
          </a:prstGeom>
          <a:solidFill>
            <a:srgbClr val="808080">
              <a:lumMod val="20000"/>
              <a:lumOff val="80000"/>
            </a:srgbClr>
          </a:solidFill>
        </p:spPr>
        <p:txBody>
          <a:bodyPr wrap="square" lIns="73152" tIns="73152" rIns="73152" bIns="73152" anchor="ctr">
            <a:noAutofit/>
          </a:bodyPr>
          <a:lstStyle/>
          <a:p>
            <a:pPr marL="0" marR="0" lvl="0" indent="0" defTabSz="914400" eaLnBrk="0" fontAlgn="auto" latinLnBrk="0" hangingPunct="0">
              <a:lnSpc>
                <a:spcPct val="90000"/>
              </a:lnSpc>
              <a:spcBef>
                <a:spcPts val="0"/>
              </a:spcBef>
              <a:spcAft>
                <a:spcPts val="0"/>
              </a:spcAft>
              <a:buClr>
                <a:srgbClr val="FFFFFF"/>
              </a:buClr>
              <a:buSzPct val="100000"/>
              <a:buFontTx/>
              <a:buNone/>
              <a:tabLst/>
              <a:defRPr/>
            </a:pPr>
            <a:r>
              <a:rPr kumimoji="0" lang="ru-RU" sz="1300" b="1" i="0" u="none" strike="noStrike" kern="0" cap="none" spc="0" normalizeH="0" baseline="0" noProof="0" dirty="0">
                <a:ln>
                  <a:noFill/>
                </a:ln>
                <a:solidFill>
                  <a:sysClr val="windowText" lastClr="000000"/>
                </a:solidFill>
                <a:effectLst/>
                <a:uLnTx/>
                <a:uFillTx/>
                <a:cs typeface="Arial" pitchFamily="34" charset="0"/>
              </a:rPr>
              <a:t>Ставка ускоренной амортизации – </a:t>
            </a:r>
            <a:r>
              <a:rPr kumimoji="0" lang="en-US" sz="1300" b="1" i="0" u="none" strike="noStrike" kern="0" cap="none" spc="0" normalizeH="0" baseline="0" noProof="0" dirty="0">
                <a:ln>
                  <a:noFill/>
                </a:ln>
                <a:solidFill>
                  <a:sysClr val="windowText" lastClr="000000"/>
                </a:solidFill>
                <a:effectLst/>
                <a:uLnTx/>
                <a:uFillTx/>
                <a:cs typeface="Arial" pitchFamily="34" charset="0"/>
              </a:rPr>
              <a:t>50%</a:t>
            </a:r>
            <a:r>
              <a:rPr kumimoji="0" lang="en-US" sz="1300" i="0" u="none" strike="noStrike" kern="0" cap="none" spc="0" normalizeH="0" baseline="0" noProof="0" dirty="0">
                <a:ln>
                  <a:noFill/>
                </a:ln>
                <a:solidFill>
                  <a:sysClr val="windowText" lastClr="000000"/>
                </a:solidFill>
                <a:effectLst/>
                <a:uLnTx/>
                <a:uFillTx/>
                <a:cs typeface="Arial" pitchFamily="34" charset="0"/>
              </a:rPr>
              <a:t>,</a:t>
            </a:r>
            <a:r>
              <a:rPr kumimoji="0" lang="en-US" sz="1300" b="1" i="0" u="none" strike="noStrike" kern="0" cap="none" spc="0" normalizeH="0" baseline="0" noProof="0" dirty="0">
                <a:ln>
                  <a:noFill/>
                </a:ln>
                <a:solidFill>
                  <a:sysClr val="windowText" lastClr="000000"/>
                </a:solidFill>
                <a:effectLst/>
                <a:uLnTx/>
                <a:uFillTx/>
                <a:cs typeface="Arial" pitchFamily="34" charset="0"/>
              </a:rPr>
              <a:t> </a:t>
            </a:r>
            <a:r>
              <a:rPr kumimoji="0" lang="ru-RU" sz="1300" i="0" u="none" strike="noStrike" kern="0" cap="none" spc="0" normalizeH="0" baseline="0" noProof="0" dirty="0">
                <a:ln>
                  <a:noFill/>
                </a:ln>
                <a:solidFill>
                  <a:sysClr val="windowText" lastClr="000000"/>
                </a:solidFill>
                <a:effectLst/>
                <a:uLnTx/>
                <a:uFillTx/>
                <a:cs typeface="Arial" pitchFamily="34" charset="0"/>
              </a:rPr>
              <a:t>на первый год </a:t>
            </a:r>
            <a:r>
              <a:rPr lang="ru-RU" sz="1200" kern="0" dirty="0">
                <a:solidFill>
                  <a:sysClr val="windowText" lastClr="000000"/>
                </a:solidFill>
                <a:cs typeface="Arial" pitchFamily="34" charset="0"/>
              </a:rPr>
              <a:t>в приоритетных отраслях</a:t>
            </a:r>
            <a:r>
              <a:rPr kumimoji="0" lang="en-US" sz="1200" i="0" u="none" strike="noStrike" kern="0" cap="none" spc="0" normalizeH="0" baseline="0" noProof="0" dirty="0">
                <a:ln>
                  <a:noFill/>
                </a:ln>
                <a:solidFill>
                  <a:sysClr val="windowText" lastClr="000000"/>
                </a:solidFill>
                <a:effectLst/>
                <a:uLnTx/>
                <a:uFillTx/>
                <a:cs typeface="Arial" pitchFamily="34" charset="0"/>
              </a:rPr>
              <a:t>,</a:t>
            </a:r>
            <a:r>
              <a:rPr kumimoji="0" lang="ru-RU" sz="1200" i="0" u="none" strike="noStrike" kern="0" cap="none" spc="0" normalizeH="0" baseline="0" noProof="0" dirty="0">
                <a:ln>
                  <a:noFill/>
                </a:ln>
                <a:solidFill>
                  <a:sysClr val="windowText" lastClr="000000"/>
                </a:solidFill>
                <a:effectLst/>
                <a:uLnTx/>
                <a:uFillTx/>
                <a:cs typeface="Arial" pitchFamily="34" charset="0"/>
              </a:rPr>
              <a:t> </a:t>
            </a:r>
            <a:r>
              <a:rPr kumimoji="0" lang="ru-RU" sz="1200" i="0" u="none" strike="noStrike" kern="0" cap="none" spc="0" normalizeH="0" baseline="0" noProof="0" dirty="0" err="1">
                <a:ln>
                  <a:noFill/>
                </a:ln>
                <a:solidFill>
                  <a:sysClr val="windowText" lastClr="000000"/>
                </a:solidFill>
                <a:effectLst/>
                <a:uLnTx/>
                <a:uFillTx/>
                <a:cs typeface="Arial" pitchFamily="34" charset="0"/>
              </a:rPr>
              <a:t>напр</a:t>
            </a:r>
            <a:r>
              <a:rPr lang="en-US" sz="1200" kern="0" dirty="0">
                <a:solidFill>
                  <a:sysClr val="windowText" lastClr="000000"/>
                </a:solidFill>
                <a:cs typeface="Arial" pitchFamily="34" charset="0"/>
              </a:rPr>
              <a:t>.</a:t>
            </a:r>
            <a:r>
              <a:rPr kumimoji="0" lang="en-US" sz="1200" i="0" u="none" strike="noStrike" kern="0" cap="none" spc="0" normalizeH="0" baseline="0" noProof="0" dirty="0">
                <a:ln>
                  <a:noFill/>
                </a:ln>
                <a:solidFill>
                  <a:sysClr val="windowText" lastClr="000000"/>
                </a:solidFill>
                <a:effectLst/>
                <a:uLnTx/>
                <a:uFillTx/>
                <a:cs typeface="Arial" pitchFamily="34" charset="0"/>
              </a:rPr>
              <a:t> </a:t>
            </a:r>
            <a:r>
              <a:rPr kumimoji="0" lang="ru-RU" sz="1200" i="0" u="none" strike="noStrike" kern="0" cap="none" spc="0" normalizeH="0" baseline="0" noProof="0" dirty="0">
                <a:ln>
                  <a:noFill/>
                </a:ln>
                <a:solidFill>
                  <a:sysClr val="windowText" lastClr="000000"/>
                </a:solidFill>
                <a:effectLst/>
                <a:uLnTx/>
                <a:uFillTx/>
                <a:cs typeface="Arial" pitchFamily="34" charset="0"/>
              </a:rPr>
              <a:t>туризм, строительство</a:t>
            </a:r>
            <a:r>
              <a:rPr kumimoji="0" lang="en-US" sz="1200" i="0" u="none" strike="noStrike" kern="0" cap="none" spc="0" normalizeH="0" baseline="0" noProof="0" dirty="0">
                <a:ln>
                  <a:noFill/>
                </a:ln>
                <a:solidFill>
                  <a:sysClr val="windowText" lastClr="000000"/>
                </a:solidFill>
                <a:effectLst/>
                <a:uLnTx/>
                <a:uFillTx/>
                <a:cs typeface="Arial" pitchFamily="34" charset="0"/>
              </a:rPr>
              <a:t>, </a:t>
            </a:r>
            <a:r>
              <a:rPr lang="ru-RU" sz="1200" kern="0" dirty="0">
                <a:solidFill>
                  <a:sysClr val="windowText" lastClr="000000"/>
                </a:solidFill>
                <a:cs typeface="Arial" pitchFamily="34" charset="0"/>
              </a:rPr>
              <a:t>с/х производство, образование, здравоохранение, телекоммуникации и транспорт. </a:t>
            </a:r>
            <a:endParaRPr kumimoji="0" lang="en-US" sz="1200" b="0" i="0" u="none" strike="noStrike" kern="0" cap="none" spc="0" normalizeH="0" baseline="0" noProof="0" dirty="0">
              <a:ln>
                <a:noFill/>
              </a:ln>
              <a:solidFill>
                <a:sysClr val="windowText" lastClr="000000"/>
              </a:solidFill>
              <a:effectLst/>
              <a:uLnTx/>
              <a:uFillTx/>
              <a:cs typeface="Arial" pitchFamily="34" charset="0"/>
            </a:endParaRPr>
          </a:p>
        </p:txBody>
      </p:sp>
      <p:sp>
        <p:nvSpPr>
          <p:cNvPr id="15" name="Rectangle 14"/>
          <p:cNvSpPr/>
          <p:nvPr/>
        </p:nvSpPr>
        <p:spPr>
          <a:xfrm>
            <a:off x="480530" y="4654165"/>
            <a:ext cx="3721699" cy="438597"/>
          </a:xfrm>
          <a:prstGeom prst="rect">
            <a:avLst/>
          </a:prstGeom>
          <a:solidFill>
            <a:srgbClr val="FFFFFF">
              <a:lumMod val="85000"/>
            </a:srgbClr>
          </a:solidFill>
        </p:spPr>
        <p:txBody>
          <a:bodyPr wrap="square" lIns="73152" tIns="73152" rIns="73152" bIns="73152" anchor="ctr">
            <a:noAutofit/>
          </a:bodyPr>
          <a:lstStyle/>
          <a:p>
            <a:pPr marL="0" marR="0" lvl="0" indent="0" defTabSz="914400" eaLnBrk="0" fontAlgn="auto" latinLnBrk="0" hangingPunct="0">
              <a:lnSpc>
                <a:spcPct val="90000"/>
              </a:lnSpc>
              <a:spcBef>
                <a:spcPts val="0"/>
              </a:spcBef>
              <a:spcAft>
                <a:spcPts val="0"/>
              </a:spcAft>
              <a:buClr>
                <a:srgbClr val="FFFFFF"/>
              </a:buClr>
              <a:buSzPct val="100000"/>
              <a:buFontTx/>
              <a:buNone/>
              <a:tabLst/>
              <a:defRPr/>
            </a:pPr>
            <a:r>
              <a:rPr kumimoji="0" lang="ru-RU" sz="1300" b="1" i="0" u="none" strike="noStrike" kern="0" cap="none" spc="0" normalizeH="0" baseline="0" noProof="0" dirty="0">
                <a:ln>
                  <a:noFill/>
                </a:ln>
                <a:solidFill>
                  <a:sysClr val="windowText" lastClr="000000"/>
                </a:solidFill>
                <a:effectLst/>
                <a:uLnTx/>
                <a:uFillTx/>
                <a:cs typeface="Arial" pitchFamily="34" charset="0"/>
              </a:rPr>
              <a:t>Освобождение от налога на прирост капитала</a:t>
            </a:r>
            <a:r>
              <a:rPr lang="en-US" sz="1400" kern="0" dirty="0">
                <a:solidFill>
                  <a:sysClr val="windowText" lastClr="000000"/>
                </a:solidFill>
                <a:cs typeface="Arial" pitchFamily="34" charset="0"/>
              </a:rPr>
              <a:t>,</a:t>
            </a:r>
            <a:r>
              <a:rPr lang="en-US" sz="1400" b="1" kern="0" dirty="0">
                <a:solidFill>
                  <a:sysClr val="windowText" lastClr="000000"/>
                </a:solidFill>
                <a:cs typeface="Arial" pitchFamily="34" charset="0"/>
              </a:rPr>
              <a:t> </a:t>
            </a:r>
            <a:r>
              <a:rPr lang="ru-RU" sz="1200" kern="0" dirty="0">
                <a:solidFill>
                  <a:sysClr val="windowText" lastClr="000000"/>
                </a:solidFill>
                <a:cs typeface="Arial" pitchFamily="34" charset="0"/>
              </a:rPr>
              <a:t>для любого зарегистрированного инвестора </a:t>
            </a:r>
            <a:endParaRPr kumimoji="0" lang="en-US" sz="1200" b="0" i="0" u="none" strike="noStrike" kern="0" cap="none" spc="0" normalizeH="0" baseline="0" noProof="0" dirty="0">
              <a:ln>
                <a:noFill/>
              </a:ln>
              <a:solidFill>
                <a:sysClr val="windowText" lastClr="000000"/>
              </a:solidFill>
              <a:effectLst/>
              <a:uLnTx/>
              <a:uFillTx/>
              <a:cs typeface="Arial" pitchFamily="34" charset="0"/>
            </a:endParaRPr>
          </a:p>
        </p:txBody>
      </p:sp>
      <p:sp>
        <p:nvSpPr>
          <p:cNvPr id="17" name="Rectangle 16"/>
          <p:cNvSpPr/>
          <p:nvPr/>
        </p:nvSpPr>
        <p:spPr>
          <a:xfrm>
            <a:off x="480530" y="5188647"/>
            <a:ext cx="3721699" cy="659856"/>
          </a:xfrm>
          <a:prstGeom prst="rect">
            <a:avLst/>
          </a:prstGeom>
          <a:solidFill>
            <a:srgbClr val="808080">
              <a:lumMod val="20000"/>
              <a:lumOff val="80000"/>
            </a:srgbClr>
          </a:solidFill>
        </p:spPr>
        <p:txBody>
          <a:bodyPr wrap="square" lIns="73152" tIns="73152" rIns="73152" bIns="73152" anchor="ctr">
            <a:noAutofit/>
          </a:bodyPr>
          <a:lstStyle/>
          <a:p>
            <a:pPr marL="0" marR="0" lvl="0" indent="0" defTabSz="914400" eaLnBrk="0" fontAlgn="auto" latinLnBrk="0" hangingPunct="0">
              <a:lnSpc>
                <a:spcPct val="90000"/>
              </a:lnSpc>
              <a:spcBef>
                <a:spcPts val="0"/>
              </a:spcBef>
              <a:spcAft>
                <a:spcPts val="0"/>
              </a:spcAft>
              <a:buClr>
                <a:srgbClr val="FFFFFF"/>
              </a:buClr>
              <a:buSzPct val="100000"/>
              <a:buFontTx/>
              <a:buNone/>
              <a:tabLst/>
              <a:defRPr/>
            </a:pPr>
            <a:r>
              <a:rPr kumimoji="0" lang="ru-RU" sz="1300" b="1" i="0" u="none" strike="noStrike" kern="0" cap="none" spc="0" normalizeH="0" baseline="0" noProof="0" dirty="0">
                <a:ln>
                  <a:noFill/>
                </a:ln>
                <a:solidFill>
                  <a:sysClr val="windowText" lastClr="000000"/>
                </a:solidFill>
                <a:effectLst/>
                <a:uLnTx/>
                <a:uFillTx/>
                <a:cs typeface="Arial" pitchFamily="34" charset="0"/>
              </a:rPr>
              <a:t>Освобождение от уплаты налогов в течение 7 лет</a:t>
            </a:r>
            <a:r>
              <a:rPr lang="en-US" sz="1400" kern="0" dirty="0">
                <a:solidFill>
                  <a:sysClr val="windowText" lastClr="000000"/>
                </a:solidFill>
                <a:cs typeface="Arial" pitchFamily="34" charset="0"/>
              </a:rPr>
              <a:t>,</a:t>
            </a:r>
            <a:r>
              <a:rPr kumimoji="0" lang="en-US" sz="1400" b="1" i="0" u="none" strike="noStrike" kern="0" cap="none" spc="0" normalizeH="0" baseline="0" noProof="0" dirty="0">
                <a:ln>
                  <a:noFill/>
                </a:ln>
                <a:solidFill>
                  <a:sysClr val="windowText" lastClr="000000"/>
                </a:solidFill>
                <a:effectLst/>
                <a:uLnTx/>
                <a:uFillTx/>
                <a:cs typeface="Arial" pitchFamily="34" charset="0"/>
              </a:rPr>
              <a:t> </a:t>
            </a:r>
            <a:r>
              <a:rPr lang="ru-RU" sz="1200" kern="0" dirty="0">
                <a:solidFill>
                  <a:sysClr val="windowText" lastClr="000000"/>
                </a:solidFill>
                <a:cs typeface="Arial" pitchFamily="34" charset="0"/>
              </a:rPr>
              <a:t>для инвестиций в экспортное производство и проекты стоимостью более </a:t>
            </a:r>
            <a:r>
              <a:rPr lang="en-US" sz="1200" kern="0" dirty="0">
                <a:solidFill>
                  <a:sysClr val="windowText" lastClr="000000"/>
                </a:solidFill>
                <a:cs typeface="Arial" pitchFamily="34" charset="0"/>
              </a:rPr>
              <a:t>$50</a:t>
            </a:r>
            <a:r>
              <a:rPr lang="ru-RU" sz="1200" kern="0" dirty="0">
                <a:solidFill>
                  <a:sysClr val="windowText" lastClr="000000"/>
                </a:solidFill>
                <a:cs typeface="Arial" pitchFamily="34" charset="0"/>
              </a:rPr>
              <a:t>М в сфере энергетики, туризма, з/охранения, индустрии и ИКТ</a:t>
            </a:r>
            <a:endParaRPr kumimoji="0" lang="en-US" sz="1200" b="0" i="0" u="none" strike="noStrike" kern="0" cap="none" spc="0" normalizeH="0" baseline="0" noProof="0" dirty="0">
              <a:ln>
                <a:noFill/>
              </a:ln>
              <a:solidFill>
                <a:sysClr val="windowText" lastClr="000000"/>
              </a:solidFill>
              <a:effectLst/>
              <a:uLnTx/>
              <a:uFillTx/>
              <a:cs typeface="Arial" pitchFamily="34" charset="0"/>
            </a:endParaRPr>
          </a:p>
        </p:txBody>
      </p:sp>
      <p:sp>
        <p:nvSpPr>
          <p:cNvPr id="18" name="Pentagon 17"/>
          <p:cNvSpPr/>
          <p:nvPr/>
        </p:nvSpPr>
        <p:spPr>
          <a:xfrm>
            <a:off x="4857120" y="1739615"/>
            <a:ext cx="3816168" cy="411480"/>
          </a:xfrm>
          <a:prstGeom prst="homePlate">
            <a:avLst>
              <a:gd name="adj" fmla="val 19760"/>
            </a:avLst>
          </a:prstGeom>
          <a:solidFill>
            <a:srgbClr val="002960"/>
          </a:solidFill>
          <a:ln w="6350">
            <a:solidFill>
              <a:srgbClr val="002960"/>
            </a:solidFill>
            <a:miter lim="800000"/>
            <a:headEnd/>
            <a:tailEnd/>
          </a:ln>
        </p:spPr>
        <p:txBody>
          <a:bodyPr lIns="72000" tIns="72000" rIns="72000" bIns="72000" anchor="ctr"/>
          <a:lstStyle/>
          <a:p>
            <a:pPr marL="0" marR="0" lvl="0" indent="0" algn="ctr" defTabSz="914400" eaLnBrk="0" fontAlgn="auto" latinLnBrk="0" hangingPunct="0">
              <a:lnSpc>
                <a:spcPct val="90000"/>
              </a:lnSpc>
              <a:spcBef>
                <a:spcPct val="0"/>
              </a:spcBef>
              <a:spcAft>
                <a:spcPts val="0"/>
              </a:spcAft>
              <a:buClrTx/>
              <a:buSzTx/>
              <a:buFontTx/>
              <a:buNone/>
              <a:tabLst/>
              <a:defRPr/>
            </a:pPr>
            <a:r>
              <a:rPr lang="ru-RU" sz="1600" b="1" kern="0" dirty="0">
                <a:solidFill>
                  <a:srgbClr val="FFFFFF"/>
                </a:solidFill>
                <a:latin typeface="Arial"/>
                <a:cs typeface="Arial" pitchFamily="34" charset="0"/>
              </a:rPr>
              <a:t>Другие льготы</a:t>
            </a:r>
            <a:endParaRPr kumimoji="0" lang="en-US" sz="1600" b="1" i="0" u="none" strike="noStrike" kern="0" cap="none" spc="0" normalizeH="0" baseline="0" noProof="0" dirty="0">
              <a:ln>
                <a:noFill/>
              </a:ln>
              <a:solidFill>
                <a:srgbClr val="FFFFFF"/>
              </a:solidFill>
              <a:effectLst/>
              <a:uLnTx/>
              <a:uFillTx/>
              <a:latin typeface="Arial"/>
              <a:cs typeface="Arial" pitchFamily="34" charset="0"/>
            </a:endParaRPr>
          </a:p>
        </p:txBody>
      </p:sp>
      <p:sp>
        <p:nvSpPr>
          <p:cNvPr id="21" name="Isosceles Triangle 20"/>
          <p:cNvSpPr/>
          <p:nvPr/>
        </p:nvSpPr>
        <p:spPr>
          <a:xfrm rot="5400000">
            <a:off x="3700099" y="3943154"/>
            <a:ext cx="2003126" cy="216026"/>
          </a:xfrm>
          <a:prstGeom prst="triangle">
            <a:avLst/>
          </a:prstGeom>
          <a:solidFill>
            <a:srgbClr val="FF6600"/>
          </a:solidFill>
          <a:ln w="12700" cap="flat" cmpd="sng" algn="ctr">
            <a:solidFill>
              <a:srgbClr val="FF6600"/>
            </a:solidFill>
            <a:prstDash val="solid"/>
          </a:ln>
          <a:effectLst/>
        </p:spPr>
        <p:txBody>
          <a:bodyPr lIns="72009" tIns="72009" rIns="72009" bIns="72009"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3" name="Isosceles Triangle 22"/>
          <p:cNvSpPr/>
          <p:nvPr/>
        </p:nvSpPr>
        <p:spPr>
          <a:xfrm rot="16200000">
            <a:off x="3463878" y="3943154"/>
            <a:ext cx="2003126" cy="216026"/>
          </a:xfrm>
          <a:prstGeom prst="triangle">
            <a:avLst/>
          </a:prstGeom>
          <a:solidFill>
            <a:srgbClr val="FF6600"/>
          </a:solidFill>
          <a:ln w="12700" cap="flat" cmpd="sng" algn="ctr">
            <a:solidFill>
              <a:srgbClr val="FF6600"/>
            </a:solidFill>
            <a:prstDash val="solid"/>
          </a:ln>
          <a:effectLst/>
        </p:spPr>
        <p:txBody>
          <a:bodyPr lIns="72009" tIns="72009" rIns="72009" bIns="72009"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Arial"/>
              <a:ea typeface="+mn-ea"/>
              <a:cs typeface="+mn-cs"/>
            </a:endParaRPr>
          </a:p>
        </p:txBody>
      </p:sp>
      <p:sp>
        <p:nvSpPr>
          <p:cNvPr id="24" name="Title 3"/>
          <p:cNvSpPr txBox="1">
            <a:spLocks/>
          </p:cNvSpPr>
          <p:nvPr/>
        </p:nvSpPr>
        <p:spPr bwMode="auto">
          <a:xfrm>
            <a:off x="250825" y="266947"/>
            <a:ext cx="8642350"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ct val="90000"/>
              </a:lnSpc>
              <a:spcBef>
                <a:spcPct val="0"/>
              </a:spcBef>
              <a:spcAft>
                <a:spcPct val="0"/>
              </a:spcAft>
              <a:defRPr sz="2400" b="1" kern="1200">
                <a:solidFill>
                  <a:schemeClr val="tx2"/>
                </a:solidFill>
                <a:latin typeface="Arial"/>
                <a:ea typeface="+mj-ea"/>
                <a:cs typeface="Arial"/>
                <a:sym typeface="Arial"/>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ru-RU" sz="2800" b="1" i="0" u="none" strike="noStrike" kern="1200" cap="none" spc="0" normalizeH="0" baseline="0" noProof="0" dirty="0">
                <a:ln>
                  <a:noFill/>
                </a:ln>
                <a:solidFill>
                  <a:srgbClr val="002960"/>
                </a:solidFill>
                <a:effectLst/>
                <a:uLnTx/>
                <a:uFillTx/>
                <a:latin typeface="Arial"/>
                <a:ea typeface="+mj-ea"/>
                <a:cs typeface="Arial"/>
                <a:sym typeface="Arial"/>
              </a:rPr>
              <a:t>Инвестиционные льготы </a:t>
            </a:r>
            <a:endParaRPr kumimoji="0" lang="en-GB" sz="2800" b="1" i="0" u="none" strike="noStrike" kern="1200" cap="none" spc="0" normalizeH="0" baseline="0" noProof="0" dirty="0">
              <a:ln>
                <a:noFill/>
              </a:ln>
              <a:solidFill>
                <a:srgbClr val="002960"/>
              </a:solidFill>
              <a:effectLst/>
              <a:uLnTx/>
              <a:uFillTx/>
              <a:latin typeface="Arial"/>
              <a:ea typeface="+mj-ea"/>
              <a:cs typeface="Arial"/>
              <a:sym typeface="Arial"/>
            </a:endParaRPr>
          </a:p>
        </p:txBody>
      </p:sp>
      <p:cxnSp>
        <p:nvCxnSpPr>
          <p:cNvPr id="25" name="Straight Connector 24"/>
          <p:cNvCxnSpPr/>
          <p:nvPr/>
        </p:nvCxnSpPr>
        <p:spPr>
          <a:xfrm>
            <a:off x="0" y="1027326"/>
            <a:ext cx="9144000"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sp>
        <p:nvSpPr>
          <p:cNvPr id="26" name="TextBox 25"/>
          <p:cNvSpPr txBox="1"/>
          <p:nvPr/>
        </p:nvSpPr>
        <p:spPr bwMode="gray">
          <a:xfrm>
            <a:off x="244474" y="1268413"/>
            <a:ext cx="8148885" cy="249299"/>
          </a:xfrm>
          <a:prstGeom prst="rect">
            <a:avLst/>
          </a:prstGeom>
          <a:noFill/>
          <a:ln w="6350">
            <a:noFill/>
          </a:ln>
          <a:extLst>
            <a:ext uri="{91240B29-F687-4F45-9708-019B960494DF}">
              <a14:hiddenLine xmlns:a14="http://schemas.microsoft.com/office/drawing/2010/main" w="6350">
                <a:solidFill>
                  <a:srgbClr val="ADABA1"/>
                </a:solidFill>
              </a14:hiddenLine>
            </a:ext>
          </a:extLst>
        </p:spPr>
        <p:txBody>
          <a:bodyPr wrap="square" lIns="0" tIns="0" rIns="0" bIns="0" rtlCol="0" anchor="t" anchorCtr="0">
            <a:spAutoFit/>
          </a:bodyPr>
          <a:lstStyle/>
          <a:p>
            <a:pPr algn="ctr">
              <a:lnSpc>
                <a:spcPct val="90000"/>
              </a:lnSpc>
            </a:pPr>
            <a:r>
              <a:rPr lang="ru-RU" b="1" dirty="0">
                <a:latin typeface="Arial"/>
                <a:cs typeface="Arial" pitchFamily="34" charset="0"/>
              </a:rPr>
              <a:t>Руанда обеспечивает ряд налоговых и других льгот</a:t>
            </a:r>
            <a:endParaRPr lang="en-US" b="1" dirty="0">
              <a:latin typeface="Arial"/>
              <a:cs typeface="Arial" pitchFamily="34" charset="0"/>
            </a:endParaRPr>
          </a:p>
        </p:txBody>
      </p:sp>
      <p:sp>
        <p:nvSpPr>
          <p:cNvPr id="27" name="Rectangle 26"/>
          <p:cNvSpPr/>
          <p:nvPr/>
        </p:nvSpPr>
        <p:spPr>
          <a:xfrm>
            <a:off x="480530" y="5917800"/>
            <a:ext cx="3721699" cy="499436"/>
          </a:xfrm>
          <a:prstGeom prst="rect">
            <a:avLst/>
          </a:prstGeom>
          <a:solidFill>
            <a:srgbClr val="808080">
              <a:lumMod val="20000"/>
              <a:lumOff val="80000"/>
            </a:srgbClr>
          </a:solidFill>
        </p:spPr>
        <p:txBody>
          <a:bodyPr wrap="square" lIns="73152" tIns="73152" rIns="73152" bIns="73152" anchor="ctr">
            <a:noAutofit/>
          </a:bodyPr>
          <a:lstStyle/>
          <a:p>
            <a:pPr lvl="0" defTabSz="914400" eaLnBrk="0" hangingPunct="0">
              <a:lnSpc>
                <a:spcPct val="90000"/>
              </a:lnSpc>
              <a:buClr>
                <a:srgbClr val="FFFFFF"/>
              </a:buClr>
              <a:buSzPct val="100000"/>
            </a:pPr>
            <a:r>
              <a:rPr lang="ru-RU" sz="1300" b="1" kern="0" noProof="0" dirty="0">
                <a:solidFill>
                  <a:sysClr val="windowText" lastClr="000000"/>
                </a:solidFill>
                <a:cs typeface="Arial" pitchFamily="34" charset="0"/>
              </a:rPr>
              <a:t>Освобождение от таможенного налога и пошлин,</a:t>
            </a:r>
            <a:r>
              <a:rPr lang="en-US" sz="1300" b="1" kern="0" noProof="0" dirty="0">
                <a:solidFill>
                  <a:sysClr val="windowText" lastClr="000000"/>
                </a:solidFill>
                <a:cs typeface="Arial" pitchFamily="34" charset="0"/>
              </a:rPr>
              <a:t> </a:t>
            </a:r>
            <a:r>
              <a:rPr lang="ru-RU" sz="1200" kern="0" noProof="0" dirty="0">
                <a:solidFill>
                  <a:sysClr val="windowText" lastClr="000000"/>
                </a:solidFill>
                <a:cs typeface="Arial" pitchFamily="34" charset="0"/>
              </a:rPr>
              <a:t>для продуктов, используемых </a:t>
            </a:r>
            <a:r>
              <a:rPr lang="ru-RU" sz="1200" kern="0" dirty="0">
                <a:solidFill>
                  <a:sysClr val="windowText" lastClr="000000"/>
                </a:solidFill>
                <a:cs typeface="Arial" pitchFamily="34" charset="0"/>
              </a:rPr>
              <a:t>в зонах экспортного производства</a:t>
            </a:r>
            <a:r>
              <a:rPr lang="en-US" sz="1200" kern="0" noProof="0" dirty="0">
                <a:solidFill>
                  <a:sysClr val="windowText" lastClr="000000"/>
                </a:solidFill>
                <a:cs typeface="Arial" pitchFamily="34" charset="0"/>
              </a:rPr>
              <a:t>(100% </a:t>
            </a:r>
            <a:r>
              <a:rPr lang="ru-RU" sz="1200" kern="0" noProof="0" dirty="0">
                <a:solidFill>
                  <a:sysClr val="windowText" lastClr="000000"/>
                </a:solidFill>
                <a:cs typeface="Arial" pitchFamily="34" charset="0"/>
              </a:rPr>
              <a:t>экспорта</a:t>
            </a:r>
            <a:r>
              <a:rPr lang="en-US" sz="1200" kern="0" noProof="0" dirty="0">
                <a:solidFill>
                  <a:sysClr val="windowText" lastClr="000000"/>
                </a:solidFill>
                <a:cs typeface="Arial" pitchFamily="34" charset="0"/>
              </a:rPr>
              <a:t>) </a:t>
            </a:r>
            <a:r>
              <a:rPr lang="en-US" sz="1200" b="1" kern="0" noProof="0" dirty="0">
                <a:solidFill>
                  <a:sysClr val="windowText" lastClr="000000"/>
                </a:solidFill>
                <a:cs typeface="Arial" pitchFamily="34" charset="0"/>
              </a:rPr>
              <a:t> </a:t>
            </a:r>
            <a:endParaRPr kumimoji="0" lang="en-US" sz="1200" b="0" i="0" u="none" strike="noStrike" kern="0" cap="none" spc="0" normalizeH="0" baseline="0" noProof="0" dirty="0">
              <a:ln>
                <a:noFill/>
              </a:ln>
              <a:solidFill>
                <a:sysClr val="windowText" lastClr="000000"/>
              </a:solidFill>
              <a:effectLst/>
              <a:uLnTx/>
              <a:uFillTx/>
              <a:cs typeface="Arial" pitchFamily="34" charset="0"/>
            </a:endParaRPr>
          </a:p>
        </p:txBody>
      </p:sp>
      <p:sp>
        <p:nvSpPr>
          <p:cNvPr id="29" name="Rectangle 28"/>
          <p:cNvSpPr/>
          <p:nvPr/>
        </p:nvSpPr>
        <p:spPr>
          <a:xfrm>
            <a:off x="4978613" y="2253234"/>
            <a:ext cx="3586547" cy="278641"/>
          </a:xfrm>
          <a:prstGeom prst="rect">
            <a:avLst/>
          </a:prstGeom>
          <a:solidFill>
            <a:srgbClr val="808080">
              <a:lumMod val="20000"/>
              <a:lumOff val="80000"/>
            </a:srgbClr>
          </a:solidFill>
        </p:spPr>
        <p:txBody>
          <a:bodyPr wrap="square" lIns="73152" tIns="73152" rIns="73152" bIns="73152" anchor="ctr">
            <a:noAutofit/>
          </a:bodyPr>
          <a:lstStyle/>
          <a:p>
            <a:pPr lvl="0" defTabSz="914400" eaLnBrk="0" hangingPunct="0">
              <a:lnSpc>
                <a:spcPct val="90000"/>
              </a:lnSpc>
              <a:buClr>
                <a:srgbClr val="FFFFFF"/>
              </a:buClr>
              <a:buSzPct val="100000"/>
            </a:pPr>
            <a:r>
              <a:rPr lang="ru-RU" sz="1300" b="1" kern="0" dirty="0">
                <a:solidFill>
                  <a:sysClr val="windowText" lastClr="000000"/>
                </a:solidFill>
                <a:cs typeface="Arial" pitchFamily="34" charset="0"/>
              </a:rPr>
              <a:t>Свободный возврат капитала</a:t>
            </a:r>
            <a:r>
              <a:rPr lang="ru-RU" sz="1300" kern="0" dirty="0">
                <a:solidFill>
                  <a:sysClr val="windowText" lastClr="000000"/>
                </a:solidFill>
                <a:cs typeface="Arial" pitchFamily="34" charset="0"/>
              </a:rPr>
              <a:t> и активов</a:t>
            </a:r>
            <a:r>
              <a:rPr lang="ru-RU" sz="1300" b="1" kern="0" dirty="0">
                <a:solidFill>
                  <a:sysClr val="windowText" lastClr="000000"/>
                </a:solidFill>
                <a:cs typeface="Arial" pitchFamily="34" charset="0"/>
              </a:rPr>
              <a:t> </a:t>
            </a:r>
            <a:r>
              <a:rPr lang="ru-RU" sz="1300" kern="0" dirty="0">
                <a:solidFill>
                  <a:sysClr val="windowText" lastClr="000000"/>
                </a:solidFill>
                <a:cs typeface="Arial" pitchFamily="34" charset="0"/>
              </a:rPr>
              <a:t>в страну</a:t>
            </a:r>
            <a:endParaRPr kumimoji="0" lang="en-US" sz="1200" i="0" u="none" strike="noStrike" kern="0" cap="none" spc="0" normalizeH="0" baseline="0" noProof="0" dirty="0">
              <a:ln>
                <a:noFill/>
              </a:ln>
              <a:solidFill>
                <a:sysClr val="windowText" lastClr="000000"/>
              </a:solidFill>
              <a:effectLst/>
              <a:uLnTx/>
              <a:uFillTx/>
              <a:cs typeface="Arial" pitchFamily="34" charset="0"/>
            </a:endParaRPr>
          </a:p>
        </p:txBody>
      </p:sp>
      <p:sp>
        <p:nvSpPr>
          <p:cNvPr id="30" name="Rectangle 29"/>
          <p:cNvSpPr/>
          <p:nvPr/>
        </p:nvSpPr>
        <p:spPr>
          <a:xfrm>
            <a:off x="4978613" y="2626771"/>
            <a:ext cx="3586547" cy="458040"/>
          </a:xfrm>
          <a:prstGeom prst="rect">
            <a:avLst/>
          </a:prstGeom>
          <a:solidFill>
            <a:srgbClr val="808080">
              <a:lumMod val="20000"/>
              <a:lumOff val="80000"/>
            </a:srgbClr>
          </a:solidFill>
        </p:spPr>
        <p:txBody>
          <a:bodyPr wrap="square" lIns="73152" tIns="73152" rIns="73152" bIns="73152" anchor="ctr">
            <a:noAutofit/>
          </a:bodyPr>
          <a:lstStyle/>
          <a:p>
            <a:pPr lvl="0" defTabSz="914400" eaLnBrk="0" hangingPunct="0">
              <a:lnSpc>
                <a:spcPct val="90000"/>
              </a:lnSpc>
              <a:buClr>
                <a:srgbClr val="FFFFFF"/>
              </a:buClr>
              <a:buSzPct val="100000"/>
            </a:pPr>
            <a:r>
              <a:rPr lang="ru-RU" sz="1300" kern="0" noProof="0" dirty="0">
                <a:solidFill>
                  <a:sysClr val="windowText" lastClr="000000"/>
                </a:solidFill>
                <a:cs typeface="Arial" pitchFamily="34" charset="0"/>
              </a:rPr>
              <a:t>Быстрая онлайн регистрация бизнеса и инвестиций </a:t>
            </a:r>
            <a:endParaRPr kumimoji="0" lang="en-US" sz="1200" i="0" u="none" strike="noStrike" kern="0" cap="none" spc="0" normalizeH="0" baseline="0" noProof="0" dirty="0">
              <a:ln>
                <a:noFill/>
              </a:ln>
              <a:solidFill>
                <a:sysClr val="windowText" lastClr="000000"/>
              </a:solidFill>
              <a:effectLst/>
              <a:uLnTx/>
              <a:uFillTx/>
              <a:cs typeface="Arial" pitchFamily="34" charset="0"/>
            </a:endParaRPr>
          </a:p>
        </p:txBody>
      </p:sp>
      <p:sp>
        <p:nvSpPr>
          <p:cNvPr id="31" name="Rectangle 30"/>
          <p:cNvSpPr/>
          <p:nvPr/>
        </p:nvSpPr>
        <p:spPr>
          <a:xfrm>
            <a:off x="4978613" y="3179707"/>
            <a:ext cx="3586547" cy="458040"/>
          </a:xfrm>
          <a:prstGeom prst="rect">
            <a:avLst/>
          </a:prstGeom>
          <a:solidFill>
            <a:srgbClr val="808080">
              <a:lumMod val="20000"/>
              <a:lumOff val="80000"/>
            </a:srgbClr>
          </a:solidFill>
        </p:spPr>
        <p:txBody>
          <a:bodyPr wrap="square" lIns="73152" tIns="73152" rIns="73152" bIns="73152" anchor="ctr">
            <a:noAutofit/>
          </a:bodyPr>
          <a:lstStyle/>
          <a:p>
            <a:pPr lvl="0" defTabSz="914400" eaLnBrk="0" hangingPunct="0">
              <a:lnSpc>
                <a:spcPct val="90000"/>
              </a:lnSpc>
              <a:buClr>
                <a:srgbClr val="FFFFFF"/>
              </a:buClr>
              <a:buSzPct val="100000"/>
            </a:pPr>
            <a:r>
              <a:rPr lang="ru-RU" sz="1300" b="1" kern="0" dirty="0">
                <a:solidFill>
                  <a:sysClr val="windowText" lastClr="000000"/>
                </a:solidFill>
                <a:cs typeface="Arial" pitchFamily="34" charset="0"/>
              </a:rPr>
              <a:t>Помощь в услугах, относящихся к налогообложению и налоговым вычетам</a:t>
            </a:r>
            <a:endParaRPr kumimoji="0" lang="en-US" sz="1200" i="0" u="none" strike="noStrike" kern="0" cap="none" spc="0" normalizeH="0" baseline="0" noProof="0" dirty="0">
              <a:ln>
                <a:noFill/>
              </a:ln>
              <a:solidFill>
                <a:sysClr val="windowText" lastClr="000000"/>
              </a:solidFill>
              <a:effectLst/>
              <a:uLnTx/>
              <a:uFillTx/>
              <a:cs typeface="Arial" pitchFamily="34" charset="0"/>
            </a:endParaRPr>
          </a:p>
        </p:txBody>
      </p:sp>
      <p:sp>
        <p:nvSpPr>
          <p:cNvPr id="32" name="Rectangle 31"/>
          <p:cNvSpPr/>
          <p:nvPr/>
        </p:nvSpPr>
        <p:spPr>
          <a:xfrm>
            <a:off x="4978613" y="3732643"/>
            <a:ext cx="3586547" cy="458040"/>
          </a:xfrm>
          <a:prstGeom prst="rect">
            <a:avLst/>
          </a:prstGeom>
          <a:solidFill>
            <a:srgbClr val="808080">
              <a:lumMod val="20000"/>
              <a:lumOff val="80000"/>
            </a:srgbClr>
          </a:solidFill>
        </p:spPr>
        <p:txBody>
          <a:bodyPr wrap="square" lIns="73152" tIns="73152" rIns="73152" bIns="73152" anchor="ctr">
            <a:noAutofit/>
          </a:bodyPr>
          <a:lstStyle/>
          <a:p>
            <a:pPr lvl="0" defTabSz="914400" eaLnBrk="0" hangingPunct="0">
              <a:lnSpc>
                <a:spcPct val="90000"/>
              </a:lnSpc>
              <a:buClr>
                <a:srgbClr val="FFFFFF"/>
              </a:buClr>
              <a:buSzPct val="100000"/>
            </a:pPr>
            <a:r>
              <a:rPr lang="ru-RU" sz="1300" b="1" kern="0" dirty="0">
                <a:solidFill>
                  <a:sysClr val="windowText" lastClr="000000"/>
                </a:solidFill>
                <a:cs typeface="Arial" pitchFamily="34" charset="0"/>
              </a:rPr>
              <a:t>Помощь в обеспечении доступа к коммунальным ресурсам </a:t>
            </a:r>
            <a:r>
              <a:rPr lang="en-US" sz="1300" kern="0" dirty="0">
                <a:solidFill>
                  <a:sysClr val="windowText" lastClr="000000"/>
                </a:solidFill>
                <a:cs typeface="Arial" pitchFamily="34" charset="0"/>
              </a:rPr>
              <a:t>(</a:t>
            </a:r>
            <a:r>
              <a:rPr lang="ru-RU" sz="1300" kern="0" dirty="0">
                <a:solidFill>
                  <a:sysClr val="windowText" lastClr="000000"/>
                </a:solidFill>
                <a:cs typeface="Arial" pitchFamily="34" charset="0"/>
              </a:rPr>
              <a:t>вода и электричество</a:t>
            </a:r>
            <a:r>
              <a:rPr lang="en-US" sz="1300" kern="0" dirty="0">
                <a:solidFill>
                  <a:sysClr val="windowText" lastClr="000000"/>
                </a:solidFill>
                <a:cs typeface="Arial" pitchFamily="34" charset="0"/>
              </a:rPr>
              <a:t>)</a:t>
            </a:r>
            <a:endParaRPr kumimoji="0" lang="en-US" sz="1200" i="0" u="none" strike="noStrike" kern="0" cap="none" spc="0" normalizeH="0" baseline="0" noProof="0" dirty="0">
              <a:ln>
                <a:noFill/>
              </a:ln>
              <a:solidFill>
                <a:sysClr val="windowText" lastClr="000000"/>
              </a:solidFill>
              <a:effectLst/>
              <a:uLnTx/>
              <a:uFillTx/>
              <a:cs typeface="Arial" pitchFamily="34" charset="0"/>
            </a:endParaRPr>
          </a:p>
        </p:txBody>
      </p:sp>
      <p:sp>
        <p:nvSpPr>
          <p:cNvPr id="33" name="Rectangle 32"/>
          <p:cNvSpPr/>
          <p:nvPr/>
        </p:nvSpPr>
        <p:spPr>
          <a:xfrm>
            <a:off x="4978613" y="4285579"/>
            <a:ext cx="3586547" cy="458040"/>
          </a:xfrm>
          <a:prstGeom prst="rect">
            <a:avLst/>
          </a:prstGeom>
          <a:solidFill>
            <a:srgbClr val="808080">
              <a:lumMod val="20000"/>
              <a:lumOff val="80000"/>
            </a:srgbClr>
          </a:solidFill>
        </p:spPr>
        <p:txBody>
          <a:bodyPr wrap="square" lIns="73152" tIns="73152" rIns="73152" bIns="73152" anchor="ctr">
            <a:noAutofit/>
          </a:bodyPr>
          <a:lstStyle/>
          <a:p>
            <a:pPr lvl="0" defTabSz="914400" eaLnBrk="0" hangingPunct="0">
              <a:lnSpc>
                <a:spcPct val="90000"/>
              </a:lnSpc>
              <a:buClr>
                <a:srgbClr val="FFFFFF"/>
              </a:buClr>
              <a:buSzPct val="100000"/>
            </a:pPr>
            <a:r>
              <a:rPr lang="ru-RU" sz="1300" b="1" kern="0" dirty="0">
                <a:solidFill>
                  <a:sysClr val="windowText" lastClr="000000"/>
                </a:solidFill>
                <a:cs typeface="Arial" pitchFamily="34" charset="0"/>
              </a:rPr>
              <a:t>Помощь в приобретении виз и разрешений на работу</a:t>
            </a:r>
            <a:endParaRPr kumimoji="0" lang="en-US" sz="1200" i="0" u="none" strike="noStrike" kern="0" cap="none" spc="0" normalizeH="0" baseline="0" noProof="0" dirty="0">
              <a:ln>
                <a:noFill/>
              </a:ln>
              <a:solidFill>
                <a:sysClr val="windowText" lastClr="000000"/>
              </a:solidFill>
              <a:effectLst/>
              <a:uLnTx/>
              <a:uFillTx/>
              <a:cs typeface="Arial" pitchFamily="34" charset="0"/>
            </a:endParaRPr>
          </a:p>
        </p:txBody>
      </p:sp>
      <p:sp>
        <p:nvSpPr>
          <p:cNvPr id="34" name="Rectangle 33"/>
          <p:cNvSpPr/>
          <p:nvPr/>
        </p:nvSpPr>
        <p:spPr>
          <a:xfrm>
            <a:off x="4978613" y="4838515"/>
            <a:ext cx="3586547" cy="458040"/>
          </a:xfrm>
          <a:prstGeom prst="rect">
            <a:avLst/>
          </a:prstGeom>
          <a:solidFill>
            <a:srgbClr val="808080">
              <a:lumMod val="20000"/>
              <a:lumOff val="80000"/>
            </a:srgbClr>
          </a:solidFill>
        </p:spPr>
        <p:txBody>
          <a:bodyPr wrap="square" lIns="73152" tIns="73152" rIns="73152" bIns="73152" anchor="ctr">
            <a:noAutofit/>
          </a:bodyPr>
          <a:lstStyle/>
          <a:p>
            <a:pPr lvl="0" defTabSz="914400" eaLnBrk="0" hangingPunct="0">
              <a:lnSpc>
                <a:spcPct val="90000"/>
              </a:lnSpc>
              <a:buClr>
                <a:srgbClr val="FFFFFF"/>
              </a:buClr>
              <a:buSzPct val="100000"/>
            </a:pPr>
            <a:r>
              <a:rPr lang="ru-RU" sz="1300" b="1" kern="0" dirty="0">
                <a:solidFill>
                  <a:sysClr val="windowText" lastClr="000000"/>
                </a:solidFill>
                <a:cs typeface="Arial" pitchFamily="34" charset="0"/>
              </a:rPr>
              <a:t>Единый центр </a:t>
            </a:r>
            <a:r>
              <a:rPr lang="ru-RU" sz="1300" kern="0" dirty="0">
                <a:solidFill>
                  <a:sysClr val="windowText" lastClr="000000"/>
                </a:solidFill>
                <a:cs typeface="Arial" pitchFamily="34" charset="0"/>
              </a:rPr>
              <a:t>по оказанию нотариальных услуг, решению миграционных вопросов</a:t>
            </a:r>
            <a:r>
              <a:rPr lang="en-US" sz="1300" kern="0" dirty="0">
                <a:solidFill>
                  <a:sysClr val="windowText" lastClr="000000"/>
                </a:solidFill>
                <a:cs typeface="Arial" pitchFamily="34" charset="0"/>
              </a:rPr>
              <a:t> </a:t>
            </a:r>
            <a:r>
              <a:rPr lang="ru-RU" sz="1300" kern="0" dirty="0">
                <a:solidFill>
                  <a:sysClr val="windowText" lastClr="000000"/>
                </a:solidFill>
                <a:cs typeface="Arial" pitchFamily="34" charset="0"/>
              </a:rPr>
              <a:t>и т.д.</a:t>
            </a:r>
            <a:r>
              <a:rPr lang="en-US" sz="1300" kern="0" dirty="0">
                <a:solidFill>
                  <a:sysClr val="windowText" lastClr="000000"/>
                </a:solidFill>
                <a:cs typeface="Arial" pitchFamily="34" charset="0"/>
              </a:rPr>
              <a:t> </a:t>
            </a:r>
            <a:endParaRPr kumimoji="0" lang="en-US" sz="1200" i="0" u="none" strike="noStrike" kern="0" cap="none" spc="0" normalizeH="0" baseline="0" noProof="0" dirty="0">
              <a:ln>
                <a:noFill/>
              </a:ln>
              <a:solidFill>
                <a:sysClr val="windowText" lastClr="000000"/>
              </a:solidFill>
              <a:effectLst/>
              <a:uLnTx/>
              <a:uFillTx/>
              <a:cs typeface="Arial" pitchFamily="34" charset="0"/>
            </a:endParaRPr>
          </a:p>
        </p:txBody>
      </p:sp>
      <p:sp>
        <p:nvSpPr>
          <p:cNvPr id="35" name="Rectangle 34"/>
          <p:cNvSpPr/>
          <p:nvPr/>
        </p:nvSpPr>
        <p:spPr>
          <a:xfrm>
            <a:off x="4978613" y="5391451"/>
            <a:ext cx="3586547" cy="458040"/>
          </a:xfrm>
          <a:prstGeom prst="rect">
            <a:avLst/>
          </a:prstGeom>
          <a:solidFill>
            <a:srgbClr val="808080">
              <a:lumMod val="20000"/>
              <a:lumOff val="80000"/>
            </a:srgbClr>
          </a:solidFill>
        </p:spPr>
        <p:txBody>
          <a:bodyPr wrap="square" lIns="73152" tIns="73152" rIns="73152" bIns="73152" anchor="ctr">
            <a:noAutofit/>
          </a:bodyPr>
          <a:lstStyle/>
          <a:p>
            <a:pPr lvl="0" defTabSz="914400" eaLnBrk="0" hangingPunct="0">
              <a:lnSpc>
                <a:spcPct val="90000"/>
              </a:lnSpc>
              <a:buClr>
                <a:srgbClr val="FFFFFF"/>
              </a:buClr>
              <a:buSzPct val="100000"/>
            </a:pPr>
            <a:r>
              <a:rPr lang="ru-RU" sz="1300" b="1" kern="0" dirty="0">
                <a:solidFill>
                  <a:sysClr val="windowText" lastClr="000000"/>
                </a:solidFill>
                <a:cs typeface="Arial" pitchFamily="34" charset="0"/>
              </a:rPr>
              <a:t>П</a:t>
            </a:r>
            <a:r>
              <a:rPr lang="ru-RU" sz="1300" b="1" kern="0" noProof="0" dirty="0" err="1">
                <a:solidFill>
                  <a:sysClr val="windowText" lastClr="000000"/>
                </a:solidFill>
                <a:cs typeface="Arial" pitchFamily="34" charset="0"/>
              </a:rPr>
              <a:t>ослепроектное</a:t>
            </a:r>
            <a:r>
              <a:rPr lang="ru-RU" sz="1300" b="1" kern="0" noProof="0" dirty="0">
                <a:solidFill>
                  <a:sysClr val="windowText" lastClr="000000"/>
                </a:solidFill>
                <a:cs typeface="Arial" pitchFamily="34" charset="0"/>
              </a:rPr>
              <a:t> обслуживание</a:t>
            </a:r>
            <a:r>
              <a:rPr lang="en-US" sz="1300" b="1" kern="0" noProof="0" dirty="0">
                <a:solidFill>
                  <a:sysClr val="windowText" lastClr="000000"/>
                </a:solidFill>
                <a:cs typeface="Arial" pitchFamily="34" charset="0"/>
              </a:rPr>
              <a:t> </a:t>
            </a:r>
            <a:r>
              <a:rPr lang="ru-RU" sz="1300" kern="0" dirty="0">
                <a:solidFill>
                  <a:sysClr val="windowText" lastClr="000000"/>
                </a:solidFill>
                <a:cs typeface="Arial" pitchFamily="34" charset="0"/>
              </a:rPr>
              <a:t>для</a:t>
            </a:r>
            <a:r>
              <a:rPr lang="ru-RU" sz="1300" b="1" kern="0" dirty="0">
                <a:solidFill>
                  <a:sysClr val="windowText" lastClr="000000"/>
                </a:solidFill>
                <a:cs typeface="Arial" pitchFamily="34" charset="0"/>
              </a:rPr>
              <a:t> обеспечения </a:t>
            </a:r>
            <a:r>
              <a:rPr lang="ru-RU" sz="1300" kern="0" noProof="0" dirty="0">
                <a:solidFill>
                  <a:sysClr val="windowText" lastClr="000000"/>
                </a:solidFill>
                <a:cs typeface="Arial" pitchFamily="34" charset="0"/>
              </a:rPr>
              <a:t>быстрого выполнения проекта</a:t>
            </a:r>
            <a:endParaRPr kumimoji="0" lang="en-US" sz="1200" i="0" u="none" strike="noStrike" kern="0" cap="none" spc="0" normalizeH="0" baseline="0" noProof="0" dirty="0">
              <a:ln>
                <a:noFill/>
              </a:ln>
              <a:solidFill>
                <a:sysClr val="windowText" lastClr="000000"/>
              </a:solidFill>
              <a:effectLst/>
              <a:uLnTx/>
              <a:uFillTx/>
              <a:cs typeface="Arial" pitchFamily="34" charset="0"/>
            </a:endParaRPr>
          </a:p>
        </p:txBody>
      </p:sp>
      <p:sp>
        <p:nvSpPr>
          <p:cNvPr id="36" name="Rectangle 35"/>
          <p:cNvSpPr/>
          <p:nvPr/>
        </p:nvSpPr>
        <p:spPr>
          <a:xfrm>
            <a:off x="4978612" y="5944386"/>
            <a:ext cx="3586548" cy="472849"/>
          </a:xfrm>
          <a:prstGeom prst="rect">
            <a:avLst/>
          </a:prstGeom>
          <a:solidFill>
            <a:srgbClr val="808080">
              <a:lumMod val="20000"/>
              <a:lumOff val="80000"/>
            </a:srgbClr>
          </a:solidFill>
        </p:spPr>
        <p:txBody>
          <a:bodyPr wrap="square" lIns="73152" tIns="73152" rIns="73152" bIns="73152" anchor="ctr">
            <a:noAutofit/>
          </a:bodyPr>
          <a:lstStyle/>
          <a:p>
            <a:pPr marL="0" marR="0" lvl="0" indent="0" defTabSz="914400" eaLnBrk="0" fontAlgn="auto" latinLnBrk="0" hangingPunct="0">
              <a:lnSpc>
                <a:spcPct val="90000"/>
              </a:lnSpc>
              <a:spcBef>
                <a:spcPts val="0"/>
              </a:spcBef>
              <a:spcAft>
                <a:spcPts val="0"/>
              </a:spcAft>
              <a:buClr>
                <a:srgbClr val="FFFFFF"/>
              </a:buClr>
              <a:buSzPct val="100000"/>
              <a:buFontTx/>
              <a:buNone/>
              <a:tabLst/>
              <a:defRPr/>
            </a:pPr>
            <a:r>
              <a:rPr lang="ru-RU" sz="1300" b="1" kern="0" dirty="0">
                <a:solidFill>
                  <a:sysClr val="windowText" lastClr="000000"/>
                </a:solidFill>
                <a:cs typeface="Arial" pitchFamily="34" charset="0"/>
              </a:rPr>
              <a:t>Вне зависимости от гражданства инвестора, </a:t>
            </a:r>
            <a:r>
              <a:rPr lang="ru-RU" sz="1300" kern="0" dirty="0">
                <a:solidFill>
                  <a:sysClr val="windowText" lastClr="000000"/>
                </a:solidFill>
                <a:cs typeface="Arial" pitchFamily="34" charset="0"/>
              </a:rPr>
              <a:t>все отрасли открыты для частных инвестиций</a:t>
            </a:r>
            <a:endParaRPr kumimoji="0" lang="en-US" sz="1200" i="0" u="none" strike="noStrike" kern="0" cap="none" spc="0" normalizeH="0" baseline="0" noProof="0" dirty="0">
              <a:ln>
                <a:noFill/>
              </a:ln>
              <a:solidFill>
                <a:sysClr val="windowText" lastClr="000000"/>
              </a:solidFill>
              <a:effectLst/>
              <a:uLnTx/>
              <a:uFillTx/>
              <a:cs typeface="Arial" pitchFamily="34" charset="0"/>
            </a:endParaRPr>
          </a:p>
        </p:txBody>
      </p:sp>
      <p:cxnSp>
        <p:nvCxnSpPr>
          <p:cNvPr id="38" name="Straight Connector 37"/>
          <p:cNvCxnSpPr/>
          <p:nvPr/>
        </p:nvCxnSpPr>
        <p:spPr>
          <a:xfrm>
            <a:off x="0" y="6551184"/>
            <a:ext cx="8093470"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sp>
        <p:nvSpPr>
          <p:cNvPr id="19" name="Rectangle 8"/>
          <p:cNvSpPr>
            <a:spLocks noChangeArrowheads="1"/>
          </p:cNvSpPr>
          <p:nvPr/>
        </p:nvSpPr>
        <p:spPr bwMode="gray">
          <a:xfrm>
            <a:off x="4857119" y="2151095"/>
            <a:ext cx="3816169" cy="4325206"/>
          </a:xfrm>
          <a:prstGeom prst="rect">
            <a:avLst/>
          </a:prstGeom>
          <a:noFill/>
          <a:ln w="6350">
            <a:solidFill>
              <a:srgbClr val="002960"/>
            </a:solidFill>
            <a:miter lim="800000"/>
            <a:headEnd/>
            <a:tailEnd/>
          </a:ln>
        </p:spPr>
        <p:txBody>
          <a:bodyPr wrap="square" lIns="91440" tIns="91440" rIns="0" bIns="0" anchorCtr="0">
            <a:noAutofit/>
          </a:bodyPr>
          <a:lstStyle/>
          <a:p>
            <a:pPr marL="0" marR="0" lvl="0" indent="0" defTabSz="966788" eaLnBrk="0" fontAlgn="auto" latinLnBrk="0" hangingPunct="0">
              <a:lnSpc>
                <a:spcPct val="90000"/>
              </a:lnSpc>
              <a:spcBef>
                <a:spcPts val="900"/>
              </a:spcBef>
              <a:spcAft>
                <a:spcPts val="0"/>
              </a:spcAft>
              <a:buClr>
                <a:srgbClr val="FFFFFF"/>
              </a:buClr>
              <a:buSzPct val="100000"/>
              <a:buFontTx/>
              <a:buNone/>
              <a:tabLst/>
              <a:defRPr/>
            </a:pPr>
            <a:endParaRPr kumimoji="0" lang="en-US" sz="1200" b="0" i="0" u="none" strike="noStrike" kern="0" cap="none" spc="0" normalizeH="0" baseline="0" noProof="0" dirty="0">
              <a:ln>
                <a:noFill/>
              </a:ln>
              <a:solidFill>
                <a:sysClr val="windowText" lastClr="000000"/>
              </a:solidFill>
              <a:effectLst/>
              <a:uLnTx/>
              <a:uFillTx/>
              <a:latin typeface="Arial"/>
              <a:cs typeface="Arial" pitchFamily="34" charset="0"/>
            </a:endParaRPr>
          </a:p>
        </p:txBody>
      </p:sp>
    </p:spTree>
    <p:extLst>
      <p:ext uri="{BB962C8B-B14F-4D97-AF65-F5344CB8AC3E}">
        <p14:creationId xmlns:p14="http://schemas.microsoft.com/office/powerpoint/2010/main" val="37123159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A5013A8-F3E1-2C42-B42A-3ED798E2D4A7}" type="slidenum">
              <a:rPr lang="en-US" smtClean="0"/>
              <a:t>8</a:t>
            </a:fld>
            <a:endParaRPr lang="en-US"/>
          </a:p>
        </p:txBody>
      </p:sp>
      <p:pic>
        <p:nvPicPr>
          <p:cNvPr id="3" name="Picture 2" descr="RDB 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06983" y="5806941"/>
            <a:ext cx="1186192" cy="1051708"/>
          </a:xfrm>
          <a:prstGeom prst="rect">
            <a:avLst/>
          </a:prstGeom>
        </p:spPr>
      </p:pic>
      <p:sp>
        <p:nvSpPr>
          <p:cNvPr id="4" name="Rectangle 3"/>
          <p:cNvSpPr/>
          <p:nvPr/>
        </p:nvSpPr>
        <p:spPr>
          <a:xfrm>
            <a:off x="4793047" y="2275308"/>
            <a:ext cx="4100127" cy="1871999"/>
          </a:xfrm>
          <a:prstGeom prst="rect">
            <a:avLst/>
          </a:prstGeom>
          <a:solidFill>
            <a:srgbClr val="C7E0FB"/>
          </a:solidFill>
        </p:spPr>
        <p:txBody>
          <a:bodyPr wrap="square" lIns="288000" tIns="73152" rIns="73152" bIns="73152" anchor="ctr">
            <a:noAutofit/>
          </a:bodyPr>
          <a:lstStyle/>
          <a:p>
            <a:pPr marL="171450" indent="-171450" defTabSz="914400" eaLnBrk="0" hangingPunct="0">
              <a:lnSpc>
                <a:spcPct val="90000"/>
              </a:lnSpc>
              <a:spcAft>
                <a:spcPts val="600"/>
              </a:spcAft>
              <a:buClr>
                <a:srgbClr val="FF6600"/>
              </a:buClr>
              <a:buSzPct val="100000"/>
              <a:buFont typeface="Arial" pitchFamily="34" charset="0"/>
              <a:buChar char="•"/>
            </a:pPr>
            <a:r>
              <a:rPr lang="ru-RU" sz="1300" kern="0" dirty="0">
                <a:solidFill>
                  <a:sysClr val="windowText" lastClr="000000"/>
                </a:solidFill>
                <a:cs typeface="Arial" pitchFamily="34" charset="0"/>
              </a:rPr>
              <a:t>Ожидается значительный рост в этом секторе вследствие увеличения налога на ввоз секонд-хенда</a:t>
            </a:r>
            <a:r>
              <a:rPr lang="en-US" sz="1300" kern="0" dirty="0">
                <a:solidFill>
                  <a:sysClr val="windowText" lastClr="000000"/>
                </a:solidFill>
                <a:cs typeface="Arial" pitchFamily="34" charset="0"/>
              </a:rPr>
              <a:t>. </a:t>
            </a:r>
          </a:p>
          <a:p>
            <a:pPr marL="171450" indent="-171450" defTabSz="914400" eaLnBrk="0" hangingPunct="0">
              <a:lnSpc>
                <a:spcPct val="90000"/>
              </a:lnSpc>
              <a:spcAft>
                <a:spcPts val="600"/>
              </a:spcAft>
              <a:buClr>
                <a:srgbClr val="FF6600"/>
              </a:buClr>
              <a:buSzPct val="100000"/>
              <a:buFont typeface="Arial" pitchFamily="34" charset="0"/>
              <a:buChar char="•"/>
            </a:pPr>
            <a:r>
              <a:rPr lang="ru-RU" sz="1300" kern="0" dirty="0">
                <a:solidFill>
                  <a:sysClr val="windowText" lastClr="000000"/>
                </a:solidFill>
                <a:cs typeface="Arial" pitchFamily="34" charset="0"/>
              </a:rPr>
              <a:t>Только в </a:t>
            </a:r>
            <a:r>
              <a:rPr lang="en-US" sz="1300" kern="0" dirty="0">
                <a:solidFill>
                  <a:sysClr val="windowText" lastClr="000000"/>
                </a:solidFill>
                <a:cs typeface="Arial" pitchFamily="34" charset="0"/>
              </a:rPr>
              <a:t>2016</a:t>
            </a:r>
            <a:r>
              <a:rPr lang="ru-RU" sz="1300" kern="0" dirty="0">
                <a:solidFill>
                  <a:sysClr val="windowText" lastClr="000000"/>
                </a:solidFill>
                <a:cs typeface="Arial" pitchFamily="34" charset="0"/>
              </a:rPr>
              <a:t>г</a:t>
            </a:r>
            <a:r>
              <a:rPr lang="en-US" sz="1300" kern="0" dirty="0">
                <a:solidFill>
                  <a:sysClr val="windowText" lastClr="000000"/>
                </a:solidFill>
                <a:cs typeface="Arial" pitchFamily="34" charset="0"/>
              </a:rPr>
              <a:t>, </a:t>
            </a:r>
            <a:r>
              <a:rPr lang="ru-RU" sz="1300" kern="0" dirty="0">
                <a:solidFill>
                  <a:sysClr val="windowText" lastClr="000000"/>
                </a:solidFill>
                <a:cs typeface="Arial" pitchFamily="34" charset="0"/>
              </a:rPr>
              <a:t>Раунда импортировала текстиля и одежды на </a:t>
            </a:r>
            <a:r>
              <a:rPr lang="en-US" sz="1300" b="1" kern="0" dirty="0">
                <a:solidFill>
                  <a:sysClr val="windowText" lastClr="000000"/>
                </a:solidFill>
                <a:cs typeface="Arial" pitchFamily="34" charset="0"/>
              </a:rPr>
              <a:t>$76.7 million</a:t>
            </a:r>
            <a:r>
              <a:rPr lang="en-US" sz="1300" kern="0" dirty="0">
                <a:solidFill>
                  <a:sysClr val="windowText" lastClr="000000"/>
                </a:solidFill>
                <a:cs typeface="Arial" pitchFamily="34" charset="0"/>
              </a:rPr>
              <a:t>. </a:t>
            </a:r>
          </a:p>
          <a:p>
            <a:pPr marL="171450" marR="0" lvl="0" indent="-171450" defTabSz="914400" eaLnBrk="0" fontAlgn="auto" latinLnBrk="0" hangingPunct="0">
              <a:lnSpc>
                <a:spcPct val="90000"/>
              </a:lnSpc>
              <a:spcBef>
                <a:spcPts val="0"/>
              </a:spcBef>
              <a:spcAft>
                <a:spcPts val="600"/>
              </a:spcAft>
              <a:buClr>
                <a:srgbClr val="FF6600"/>
              </a:buClr>
              <a:buSzPct val="100000"/>
              <a:buFont typeface="Arial" pitchFamily="34" charset="0"/>
              <a:buChar char="•"/>
              <a:tabLst/>
              <a:defRPr/>
            </a:pPr>
            <a:r>
              <a:rPr kumimoji="0" lang="ru-RU" sz="1300" b="0" i="0" u="none" strike="noStrike" kern="0" cap="none" spc="0" normalizeH="0" baseline="0" noProof="0" dirty="0">
                <a:ln>
                  <a:noFill/>
                </a:ln>
                <a:solidFill>
                  <a:sysClr val="windowText" lastClr="000000"/>
                </a:solidFill>
                <a:effectLst/>
                <a:uLnTx/>
                <a:uFillTx/>
                <a:cs typeface="Arial" pitchFamily="34" charset="0"/>
              </a:rPr>
              <a:t>Другие возможности: производство </a:t>
            </a:r>
            <a:r>
              <a:rPr kumimoji="0" lang="en-US" sz="1300" b="1" i="0" u="none" strike="noStrike" kern="0" cap="none" spc="0" normalizeH="0" noProof="0" dirty="0">
                <a:ln>
                  <a:noFill/>
                </a:ln>
                <a:solidFill>
                  <a:sysClr val="windowText" lastClr="000000"/>
                </a:solidFill>
                <a:effectLst/>
                <a:uLnTx/>
                <a:uFillTx/>
                <a:cs typeface="Arial" pitchFamily="34" charset="0"/>
              </a:rPr>
              <a:t> </a:t>
            </a:r>
            <a:r>
              <a:rPr kumimoji="0" lang="ru-RU" sz="1300" b="1" i="0" u="none" strike="noStrike" kern="0" cap="none" spc="0" normalizeH="0" noProof="0" dirty="0">
                <a:ln>
                  <a:noFill/>
                </a:ln>
                <a:solidFill>
                  <a:sysClr val="windowText" lastClr="000000"/>
                </a:solidFill>
                <a:effectLst/>
                <a:uLnTx/>
                <a:uFillTx/>
                <a:cs typeface="Arial" pitchFamily="34" charset="0"/>
              </a:rPr>
              <a:t>х/б</a:t>
            </a:r>
            <a:r>
              <a:rPr kumimoji="0" lang="en-US" sz="1300" b="1" i="0" u="none" strike="noStrike" kern="0" cap="none" spc="0" normalizeH="0" noProof="0" dirty="0">
                <a:ln>
                  <a:noFill/>
                </a:ln>
                <a:solidFill>
                  <a:sysClr val="windowText" lastClr="000000"/>
                </a:solidFill>
                <a:effectLst/>
                <a:uLnTx/>
                <a:uFillTx/>
                <a:cs typeface="Arial" pitchFamily="34" charset="0"/>
              </a:rPr>
              <a:t>, </a:t>
            </a:r>
            <a:r>
              <a:rPr kumimoji="0" lang="ru-RU" sz="1300" b="1" i="0" u="none" strike="noStrike" kern="0" cap="none" spc="0" normalizeH="0" noProof="0" dirty="0">
                <a:ln>
                  <a:noFill/>
                </a:ln>
                <a:solidFill>
                  <a:sysClr val="windowText" lastClr="000000"/>
                </a:solidFill>
                <a:effectLst/>
                <a:uLnTx/>
                <a:uFillTx/>
                <a:cs typeface="Arial" pitchFamily="34" charset="0"/>
              </a:rPr>
              <a:t>шерстяных, и других тканей</a:t>
            </a:r>
            <a:r>
              <a:rPr kumimoji="0" lang="en-US" sz="1300" b="1" i="0" u="none" strike="noStrike" kern="0" cap="none" spc="0" normalizeH="0" noProof="0" dirty="0">
                <a:ln>
                  <a:noFill/>
                </a:ln>
                <a:solidFill>
                  <a:sysClr val="windowText" lastClr="000000"/>
                </a:solidFill>
                <a:effectLst/>
                <a:uLnTx/>
                <a:uFillTx/>
                <a:cs typeface="Arial" pitchFamily="34" charset="0"/>
              </a:rPr>
              <a:t>, </a:t>
            </a:r>
            <a:r>
              <a:rPr kumimoji="0" lang="ru-RU" sz="1300" b="1" i="0" u="none" strike="noStrike" kern="0" cap="none" spc="0" normalizeH="0" noProof="0" dirty="0">
                <a:ln>
                  <a:noFill/>
                </a:ln>
                <a:solidFill>
                  <a:sysClr val="windowText" lastClr="000000"/>
                </a:solidFill>
                <a:effectLst/>
                <a:uLnTx/>
                <a:uFillTx/>
                <a:cs typeface="Arial" pitchFamily="34" charset="0"/>
              </a:rPr>
              <a:t>шелка, постельного белья</a:t>
            </a:r>
            <a:r>
              <a:rPr lang="ru-RU" sz="1300" b="1" kern="0" dirty="0">
                <a:solidFill>
                  <a:sysClr val="windowText" lastClr="000000"/>
                </a:solidFill>
                <a:cs typeface="Arial" pitchFamily="34" charset="0"/>
              </a:rPr>
              <a:t> и полотенец</a:t>
            </a:r>
            <a:r>
              <a:rPr kumimoji="0" lang="en-US" sz="1300" b="1" i="0" u="none" strike="noStrike" kern="0" cap="none" spc="0" normalizeH="0" noProof="0" dirty="0">
                <a:ln>
                  <a:noFill/>
                </a:ln>
                <a:solidFill>
                  <a:sysClr val="windowText" lastClr="000000"/>
                </a:solidFill>
                <a:effectLst/>
                <a:uLnTx/>
                <a:uFillTx/>
                <a:cs typeface="Arial" pitchFamily="34" charset="0"/>
              </a:rPr>
              <a:t>, </a:t>
            </a:r>
            <a:r>
              <a:rPr lang="ru-RU" sz="1300" b="1" kern="0" dirty="0">
                <a:solidFill>
                  <a:sysClr val="windowText" lastClr="000000"/>
                </a:solidFill>
                <a:cs typeface="Arial" pitchFamily="34" charset="0"/>
              </a:rPr>
              <a:t>москитных сеток</a:t>
            </a:r>
            <a:r>
              <a:rPr kumimoji="0" lang="en-US" sz="1300" b="1" i="0" u="none" strike="noStrike" kern="0" cap="none" spc="0" normalizeH="0" noProof="0" dirty="0">
                <a:ln>
                  <a:noFill/>
                </a:ln>
                <a:solidFill>
                  <a:sysClr val="windowText" lastClr="000000"/>
                </a:solidFill>
                <a:effectLst/>
                <a:uLnTx/>
                <a:uFillTx/>
                <a:cs typeface="Arial" pitchFamily="34" charset="0"/>
              </a:rPr>
              <a:t>.</a:t>
            </a:r>
            <a:endParaRPr kumimoji="0" lang="en-US" sz="1300" b="1" i="0" u="none" strike="noStrike" kern="0" cap="none" spc="0" normalizeH="0" baseline="0" noProof="0" dirty="0">
              <a:ln>
                <a:noFill/>
              </a:ln>
              <a:solidFill>
                <a:sysClr val="windowText" lastClr="000000"/>
              </a:solidFill>
              <a:effectLst/>
              <a:uLnTx/>
              <a:uFillTx/>
              <a:cs typeface="Arial" pitchFamily="34" charset="0"/>
            </a:endParaRPr>
          </a:p>
        </p:txBody>
      </p:sp>
      <p:sp>
        <p:nvSpPr>
          <p:cNvPr id="5" name="Rectangle 4"/>
          <p:cNvSpPr/>
          <p:nvPr/>
        </p:nvSpPr>
        <p:spPr>
          <a:xfrm>
            <a:off x="4793047" y="4309740"/>
            <a:ext cx="4100128" cy="1850115"/>
          </a:xfrm>
          <a:prstGeom prst="rect">
            <a:avLst/>
          </a:prstGeom>
          <a:solidFill>
            <a:srgbClr val="C7E0FB"/>
          </a:solidFill>
        </p:spPr>
        <p:txBody>
          <a:bodyPr wrap="square" lIns="288000" tIns="73152" rIns="73152" bIns="73152" anchor="ctr">
            <a:noAutofit/>
          </a:bodyPr>
          <a:lstStyle/>
          <a:p>
            <a:pPr marL="171450" lvl="0" indent="-171450" defTabSz="914400" eaLnBrk="0" hangingPunct="0">
              <a:lnSpc>
                <a:spcPct val="90000"/>
              </a:lnSpc>
              <a:spcAft>
                <a:spcPts val="600"/>
              </a:spcAft>
              <a:buClr>
                <a:srgbClr val="FF6600"/>
              </a:buClr>
              <a:buSzPct val="100000"/>
              <a:buFont typeface="Arial" pitchFamily="34" charset="0"/>
              <a:buChar char="•"/>
            </a:pPr>
            <a:r>
              <a:rPr lang="ru-RU" sz="1300" kern="0" dirty="0">
                <a:solidFill>
                  <a:sysClr val="windowText" lastClr="000000"/>
                </a:solidFill>
                <a:cs typeface="Arial" pitchFamily="34" charset="0"/>
              </a:rPr>
              <a:t>Бурно развивающиеся строительство обусловило высокий спрос на строительные материалы, включая </a:t>
            </a:r>
            <a:r>
              <a:rPr lang="en-US" sz="1300" kern="0" dirty="0">
                <a:solidFill>
                  <a:sysClr val="windowText" lastClr="000000"/>
                </a:solidFill>
                <a:cs typeface="Arial" pitchFamily="34" charset="0"/>
              </a:rPr>
              <a:t> </a:t>
            </a:r>
            <a:r>
              <a:rPr lang="ru-RU" sz="1300" b="1" kern="0" dirty="0" err="1">
                <a:solidFill>
                  <a:sysClr val="windowText" lastClr="000000"/>
                </a:solidFill>
                <a:cs typeface="Arial" pitchFamily="34" charset="0"/>
              </a:rPr>
              <a:t>электр.кабели</a:t>
            </a:r>
            <a:r>
              <a:rPr lang="ru-RU" sz="1300" b="1" kern="0" dirty="0">
                <a:solidFill>
                  <a:sysClr val="windowText" lastClr="000000"/>
                </a:solidFill>
                <a:cs typeface="Arial" pitchFamily="34" charset="0"/>
              </a:rPr>
              <a:t>, изделия из стали, керамики, древесины</a:t>
            </a:r>
            <a:r>
              <a:rPr lang="en-US" sz="1300" b="1" kern="0" dirty="0">
                <a:solidFill>
                  <a:sysClr val="windowText" lastClr="000000"/>
                </a:solidFill>
                <a:cs typeface="Arial" pitchFamily="34" charset="0"/>
              </a:rPr>
              <a:t>, </a:t>
            </a:r>
            <a:r>
              <a:rPr lang="ru-RU" sz="1300" b="1" kern="0" dirty="0" err="1">
                <a:solidFill>
                  <a:sysClr val="windowText" lastClr="000000"/>
                </a:solidFill>
                <a:cs typeface="Arial" pitchFamily="34" charset="0"/>
              </a:rPr>
              <a:t>флоат</a:t>
            </a:r>
            <a:r>
              <a:rPr lang="ru-RU" sz="1300" b="1" kern="0" dirty="0">
                <a:solidFill>
                  <a:sysClr val="windowText" lastClr="000000"/>
                </a:solidFill>
                <a:cs typeface="Arial" pitchFamily="34" charset="0"/>
              </a:rPr>
              <a:t>-стекло</a:t>
            </a:r>
            <a:r>
              <a:rPr lang="en-US" sz="1300" b="1" kern="0" dirty="0">
                <a:solidFill>
                  <a:sysClr val="windowText" lastClr="000000"/>
                </a:solidFill>
                <a:cs typeface="Arial" pitchFamily="34" charset="0"/>
              </a:rPr>
              <a:t>,</a:t>
            </a:r>
            <a:r>
              <a:rPr lang="ru-RU" sz="1300" b="1" kern="0" dirty="0">
                <a:solidFill>
                  <a:sysClr val="windowText" lastClr="000000"/>
                </a:solidFill>
                <a:cs typeface="Arial" pitchFamily="34" charset="0"/>
              </a:rPr>
              <a:t> краски</a:t>
            </a:r>
            <a:r>
              <a:rPr lang="en-US" sz="1300" b="1" kern="0" dirty="0">
                <a:solidFill>
                  <a:sysClr val="windowText" lastClr="000000"/>
                </a:solidFill>
                <a:cs typeface="Arial" pitchFamily="34" charset="0"/>
              </a:rPr>
              <a:t>. </a:t>
            </a:r>
          </a:p>
          <a:p>
            <a:pPr marL="171450" lvl="0" indent="-171450" defTabSz="914400" eaLnBrk="0" hangingPunct="0">
              <a:lnSpc>
                <a:spcPct val="90000"/>
              </a:lnSpc>
              <a:spcAft>
                <a:spcPts val="600"/>
              </a:spcAft>
              <a:buClr>
                <a:srgbClr val="FF6600"/>
              </a:buClr>
              <a:buSzPct val="100000"/>
              <a:buFont typeface="Arial" pitchFamily="34" charset="0"/>
              <a:buChar char="•"/>
            </a:pPr>
            <a:r>
              <a:rPr lang="ru-RU" sz="1300" kern="0" dirty="0">
                <a:solidFill>
                  <a:sysClr val="windowText" lastClr="000000"/>
                </a:solidFill>
                <a:cs typeface="Arial" pitchFamily="34" charset="0"/>
              </a:rPr>
              <a:t>Строительные материалы составляют </a:t>
            </a:r>
            <a:r>
              <a:rPr lang="ru-RU" sz="1300" b="1" kern="0" dirty="0">
                <a:solidFill>
                  <a:sysClr val="windowText" lastClr="000000"/>
                </a:solidFill>
                <a:cs typeface="Arial" pitchFamily="34" charset="0"/>
              </a:rPr>
              <a:t>10% импорта Руанды</a:t>
            </a:r>
            <a:r>
              <a:rPr lang="en-US" sz="1300" b="1" kern="0" dirty="0">
                <a:solidFill>
                  <a:sysClr val="windowText" lastClr="000000"/>
                </a:solidFill>
                <a:cs typeface="Arial" pitchFamily="34" charset="0"/>
              </a:rPr>
              <a:t>.</a:t>
            </a:r>
          </a:p>
        </p:txBody>
      </p:sp>
      <p:sp>
        <p:nvSpPr>
          <p:cNvPr id="7" name="Title 3"/>
          <p:cNvSpPr txBox="1">
            <a:spLocks/>
          </p:cNvSpPr>
          <p:nvPr/>
        </p:nvSpPr>
        <p:spPr bwMode="auto">
          <a:xfrm>
            <a:off x="250825" y="266947"/>
            <a:ext cx="8642350"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ct val="90000"/>
              </a:lnSpc>
              <a:spcBef>
                <a:spcPct val="0"/>
              </a:spcBef>
              <a:spcAft>
                <a:spcPct val="0"/>
              </a:spcAft>
              <a:defRPr sz="2400" b="1" kern="1200">
                <a:solidFill>
                  <a:schemeClr val="tx2"/>
                </a:solidFill>
                <a:latin typeface="Arial"/>
                <a:ea typeface="+mj-ea"/>
                <a:cs typeface="Arial"/>
                <a:sym typeface="Arial"/>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lang="ru-RU" sz="2800" dirty="0">
                <a:solidFill>
                  <a:srgbClr val="002960"/>
                </a:solidFill>
              </a:rPr>
              <a:t>Производство </a:t>
            </a:r>
            <a:endParaRPr kumimoji="0" lang="en-GB" sz="2800" b="1" i="0" u="none" strike="noStrike" kern="1200" cap="none" spc="0" normalizeH="0" baseline="0" noProof="0" dirty="0">
              <a:ln>
                <a:noFill/>
              </a:ln>
              <a:solidFill>
                <a:srgbClr val="002960"/>
              </a:solidFill>
              <a:effectLst/>
              <a:uLnTx/>
              <a:uFillTx/>
              <a:sym typeface="Arial"/>
            </a:endParaRPr>
          </a:p>
        </p:txBody>
      </p:sp>
      <p:sp>
        <p:nvSpPr>
          <p:cNvPr id="8" name="TextBox 7"/>
          <p:cNvSpPr txBox="1"/>
          <p:nvPr/>
        </p:nvSpPr>
        <p:spPr bwMode="gray">
          <a:xfrm>
            <a:off x="244475" y="1268413"/>
            <a:ext cx="6842760" cy="249299"/>
          </a:xfrm>
          <a:prstGeom prst="rect">
            <a:avLst/>
          </a:prstGeom>
          <a:noFill/>
          <a:ln w="6350">
            <a:noFill/>
          </a:ln>
          <a:extLst>
            <a:ext uri="{91240B29-F687-4F45-9708-019B960494DF}">
              <a14:hiddenLine xmlns:a14="http://schemas.microsoft.com/office/drawing/2010/main" w="6350">
                <a:solidFill>
                  <a:srgbClr val="ADABA1"/>
                </a:solidFill>
              </a14:hiddenLine>
            </a:ext>
          </a:extLst>
        </p:spPr>
        <p:txBody>
          <a:bodyPr wrap="square" lIns="0" tIns="0" rIns="0" bIns="0" rtlCol="0" anchor="t" anchorCtr="0">
            <a:spAutoFit/>
          </a:bodyPr>
          <a:lstStyle/>
          <a:p>
            <a:pPr>
              <a:lnSpc>
                <a:spcPct val="90000"/>
              </a:lnSpc>
            </a:pPr>
            <a:r>
              <a:rPr lang="ru-RU" b="1" dirty="0">
                <a:latin typeface="Arial"/>
                <a:cs typeface="Arial" pitchFamily="34" charset="0"/>
              </a:rPr>
              <a:t>Промышленность и переработка с/х продукции</a:t>
            </a:r>
            <a:endParaRPr lang="en-US" b="1" dirty="0">
              <a:latin typeface="Arial"/>
              <a:cs typeface="Arial" pitchFamily="34" charset="0"/>
            </a:endParaRPr>
          </a:p>
        </p:txBody>
      </p:sp>
      <p:sp>
        <p:nvSpPr>
          <p:cNvPr id="9" name="Rectangle 8"/>
          <p:cNvSpPr/>
          <p:nvPr/>
        </p:nvSpPr>
        <p:spPr>
          <a:xfrm>
            <a:off x="3275856" y="1773238"/>
            <a:ext cx="5617319" cy="411058"/>
          </a:xfrm>
          <a:prstGeom prst="rect">
            <a:avLst/>
          </a:prstGeom>
          <a:solidFill>
            <a:srgbClr val="002960"/>
          </a:solidFill>
          <a:ln w="9525" cap="flat" cmpd="sng" algn="ctr">
            <a:solidFill>
              <a:srgbClr val="002960"/>
            </a:solidFill>
            <a:prstDash val="solid"/>
          </a:ln>
          <a:effectLst/>
          <a:extLst/>
        </p:spPr>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ru-RU" sz="1600" b="1" i="0" u="none" strike="noStrike" kern="0" cap="none" spc="0" normalizeH="0" baseline="0" noProof="0" dirty="0">
                <a:ln>
                  <a:noFill/>
                </a:ln>
                <a:solidFill>
                  <a:srgbClr val="FFFFFF"/>
                </a:solidFill>
                <a:effectLst/>
                <a:uLnTx/>
                <a:uFillTx/>
                <a:latin typeface="Arial"/>
                <a:ea typeface="+mn-ea"/>
                <a:cs typeface="Arial"/>
              </a:rPr>
              <a:t>Инвестиционные возможности</a:t>
            </a:r>
            <a:endParaRPr kumimoji="0" lang="en-US" sz="1600" b="1" i="0" u="none" strike="noStrike" kern="0" cap="none" spc="0" normalizeH="0" baseline="0" noProof="0" dirty="0">
              <a:ln>
                <a:noFill/>
              </a:ln>
              <a:solidFill>
                <a:srgbClr val="FFFFFF"/>
              </a:solidFill>
              <a:effectLst/>
              <a:uLnTx/>
              <a:uFillTx/>
              <a:latin typeface="Arial"/>
              <a:ea typeface="+mn-ea"/>
              <a:cs typeface="Arial"/>
            </a:endParaRPr>
          </a:p>
        </p:txBody>
      </p:sp>
      <p:sp>
        <p:nvSpPr>
          <p:cNvPr id="10" name="Pentagon 9"/>
          <p:cNvSpPr/>
          <p:nvPr/>
        </p:nvSpPr>
        <p:spPr>
          <a:xfrm>
            <a:off x="250825" y="1772816"/>
            <a:ext cx="2900804" cy="411480"/>
          </a:xfrm>
          <a:prstGeom prst="homePlate">
            <a:avLst>
              <a:gd name="adj" fmla="val 19760"/>
            </a:avLst>
          </a:prstGeom>
          <a:solidFill>
            <a:srgbClr val="002960"/>
          </a:solidFill>
          <a:ln w="6350">
            <a:solidFill>
              <a:srgbClr val="002960"/>
            </a:solidFill>
            <a:miter lim="800000"/>
            <a:headEnd/>
            <a:tailEnd/>
          </a:ln>
        </p:spPr>
        <p:txBody>
          <a:bodyPr lIns="72000" tIns="72000" rIns="7200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kumimoji="0" lang="ru-RU" sz="1600" b="1" i="0" u="none" strike="noStrike" kern="0" cap="none" spc="0" normalizeH="0" baseline="0" noProof="0" dirty="0">
                <a:ln>
                  <a:noFill/>
                </a:ln>
                <a:solidFill>
                  <a:srgbClr val="FFFFFF"/>
                </a:solidFill>
                <a:effectLst/>
                <a:uLnTx/>
                <a:uFillTx/>
                <a:latin typeface="Arial"/>
                <a:cs typeface="Arial" pitchFamily="34" charset="0"/>
              </a:rPr>
              <a:t>Обзор</a:t>
            </a:r>
            <a:endParaRPr kumimoji="0" lang="en-US" sz="1600" b="1" i="0" u="none" strike="noStrike" kern="0" cap="none" spc="0" normalizeH="0" baseline="0" noProof="0" dirty="0">
              <a:ln>
                <a:noFill/>
              </a:ln>
              <a:solidFill>
                <a:srgbClr val="FFFFFF"/>
              </a:solidFill>
              <a:effectLst/>
              <a:uLnTx/>
              <a:uFillTx/>
              <a:latin typeface="Arial"/>
              <a:cs typeface="Arial" pitchFamily="34" charset="0"/>
            </a:endParaRPr>
          </a:p>
        </p:txBody>
      </p:sp>
      <p:sp>
        <p:nvSpPr>
          <p:cNvPr id="11" name="Rectangle 8"/>
          <p:cNvSpPr>
            <a:spLocks noChangeArrowheads="1"/>
          </p:cNvSpPr>
          <p:nvPr/>
        </p:nvSpPr>
        <p:spPr bwMode="gray">
          <a:xfrm>
            <a:off x="250825" y="2184294"/>
            <a:ext cx="2819048" cy="4172056"/>
          </a:xfrm>
          <a:prstGeom prst="rect">
            <a:avLst/>
          </a:prstGeom>
          <a:noFill/>
          <a:ln w="6350">
            <a:solidFill>
              <a:srgbClr val="002960"/>
            </a:solidFill>
            <a:miter lim="800000"/>
            <a:headEnd/>
            <a:tailEnd/>
          </a:ln>
        </p:spPr>
        <p:txBody>
          <a:bodyPr wrap="square" lIns="91440" tIns="91440" rIns="0" bIns="0" anchorCtr="0">
            <a:noAutofit/>
          </a:bodyPr>
          <a:lstStyle/>
          <a:p>
            <a:pPr marL="171450" lvl="0" indent="-171450" defTabSz="966788" eaLnBrk="0" hangingPunct="0">
              <a:lnSpc>
                <a:spcPct val="90000"/>
              </a:lnSpc>
              <a:spcBef>
                <a:spcPts val="900"/>
              </a:spcBef>
              <a:buClr>
                <a:srgbClr val="FF6600"/>
              </a:buClr>
              <a:buSzPct val="100000"/>
              <a:buFont typeface="Arial" pitchFamily="34" charset="0"/>
              <a:buChar char="•"/>
              <a:defRPr/>
            </a:pPr>
            <a:r>
              <a:rPr lang="ru-RU" sz="1400" kern="0" dirty="0">
                <a:solidFill>
                  <a:sysClr val="windowText" lastClr="000000"/>
                </a:solidFill>
                <a:latin typeface="Arial"/>
                <a:cs typeface="Arial" pitchFamily="34" charset="0"/>
              </a:rPr>
              <a:t>Темп роста легкой промышленности – 7%, ожидается, что к </a:t>
            </a:r>
            <a:r>
              <a:rPr lang="en-US" sz="1400" kern="0" dirty="0">
                <a:solidFill>
                  <a:sysClr val="windowText" lastClr="000000"/>
                </a:solidFill>
                <a:latin typeface="Arial"/>
                <a:cs typeface="Arial" pitchFamily="34" charset="0"/>
              </a:rPr>
              <a:t>2020</a:t>
            </a:r>
            <a:r>
              <a:rPr lang="ru-RU" sz="1400" kern="0" dirty="0">
                <a:solidFill>
                  <a:sysClr val="windowText" lastClr="000000"/>
                </a:solidFill>
                <a:latin typeface="Arial"/>
                <a:cs typeface="Arial" pitchFamily="34" charset="0"/>
              </a:rPr>
              <a:t>г вклад в ВВП составит 26%</a:t>
            </a:r>
            <a:r>
              <a:rPr lang="en-US" sz="1400" kern="0" dirty="0">
                <a:solidFill>
                  <a:sysClr val="windowText" lastClr="000000"/>
                </a:solidFill>
                <a:latin typeface="Arial"/>
                <a:cs typeface="Arial" pitchFamily="34" charset="0"/>
              </a:rPr>
              <a:t>.</a:t>
            </a:r>
          </a:p>
          <a:p>
            <a:pPr marL="171450" marR="0" lvl="0" indent="-171450" defTabSz="966788" eaLnBrk="0" fontAlgn="auto" latinLnBrk="0" hangingPunct="0">
              <a:lnSpc>
                <a:spcPct val="90000"/>
              </a:lnSpc>
              <a:spcBef>
                <a:spcPts val="900"/>
              </a:spcBef>
              <a:spcAft>
                <a:spcPts val="0"/>
              </a:spcAft>
              <a:buClr>
                <a:srgbClr val="FF6600"/>
              </a:buClr>
              <a:buSzPct val="100000"/>
              <a:buFont typeface="Arial" pitchFamily="34" charset="0"/>
              <a:buChar char="•"/>
              <a:tabLst/>
              <a:defRPr/>
            </a:pPr>
            <a:r>
              <a:rPr lang="ru-RU" sz="1400" kern="0" dirty="0">
                <a:solidFill>
                  <a:sysClr val="windowText" lastClr="000000"/>
                </a:solidFill>
                <a:latin typeface="Arial"/>
                <a:cs typeface="Arial" pitchFamily="34" charset="0"/>
              </a:rPr>
              <a:t>Были созданы СЭЗ и 4 индустриальных парка для. Благодаря им улучшена инфраструктуры, отлажены бизнес-процессы, которые позволяют развернуть производство в молодых отраслях</a:t>
            </a:r>
            <a:r>
              <a:rPr lang="en-US" sz="1400" kern="0" dirty="0">
                <a:solidFill>
                  <a:sysClr val="windowText" lastClr="000000"/>
                </a:solidFill>
                <a:latin typeface="Arial"/>
                <a:cs typeface="Arial" pitchFamily="34" charset="0"/>
              </a:rPr>
              <a:t>.</a:t>
            </a:r>
            <a:endParaRPr kumimoji="0" lang="en-US" sz="1400" b="0" i="0" u="none" strike="noStrike" kern="0" cap="none" spc="0" normalizeH="0" baseline="0" noProof="0" dirty="0">
              <a:ln>
                <a:noFill/>
              </a:ln>
              <a:solidFill>
                <a:sysClr val="windowText" lastClr="000000"/>
              </a:solidFill>
              <a:effectLst/>
              <a:uLnTx/>
              <a:uFillTx/>
              <a:latin typeface="Arial"/>
              <a:cs typeface="Arial" pitchFamily="34" charset="0"/>
            </a:endParaRPr>
          </a:p>
        </p:txBody>
      </p:sp>
      <p:sp>
        <p:nvSpPr>
          <p:cNvPr id="12" name="Pentagon 11"/>
          <p:cNvSpPr/>
          <p:nvPr/>
        </p:nvSpPr>
        <p:spPr>
          <a:xfrm>
            <a:off x="3275855" y="2275308"/>
            <a:ext cx="1887165" cy="1871999"/>
          </a:xfrm>
          <a:prstGeom prst="homePlate">
            <a:avLst>
              <a:gd name="adj" fmla="val 19760"/>
            </a:avLst>
          </a:prstGeom>
          <a:solidFill>
            <a:srgbClr val="0066CC"/>
          </a:solidFill>
          <a:ln w="6350">
            <a:noFill/>
            <a:miter lim="800000"/>
            <a:headEnd/>
            <a:tailEnd/>
          </a:ln>
        </p:spPr>
        <p:txBody>
          <a:bodyPr lIns="72000" tIns="72000" rIns="7200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a:solidFill>
                  <a:srgbClr val="FFFFFF"/>
                </a:solidFill>
                <a:latin typeface="Arial"/>
                <a:cs typeface="Arial" pitchFamily="34" charset="0"/>
              </a:rPr>
              <a:t>Текстиль и одежда</a:t>
            </a:r>
            <a:endParaRPr kumimoji="0" lang="en-US" sz="1500" b="1" i="0" u="none" strike="noStrike" kern="0" cap="none" spc="0" normalizeH="0" baseline="0" noProof="0" dirty="0">
              <a:ln>
                <a:noFill/>
              </a:ln>
              <a:solidFill>
                <a:srgbClr val="FFFFFF"/>
              </a:solidFill>
              <a:effectLst/>
              <a:uLnTx/>
              <a:uFillTx/>
              <a:latin typeface="Arial"/>
              <a:cs typeface="Arial" pitchFamily="34" charset="0"/>
            </a:endParaRPr>
          </a:p>
        </p:txBody>
      </p:sp>
      <p:sp>
        <p:nvSpPr>
          <p:cNvPr id="13" name="Pentagon 12"/>
          <p:cNvSpPr/>
          <p:nvPr/>
        </p:nvSpPr>
        <p:spPr>
          <a:xfrm>
            <a:off x="3275856" y="4279779"/>
            <a:ext cx="1887164" cy="1850115"/>
          </a:xfrm>
          <a:prstGeom prst="homePlate">
            <a:avLst>
              <a:gd name="adj" fmla="val 19760"/>
            </a:avLst>
          </a:prstGeom>
          <a:solidFill>
            <a:srgbClr val="0066CC"/>
          </a:solidFill>
          <a:ln w="6350">
            <a:noFill/>
            <a:miter lim="800000"/>
            <a:headEnd/>
            <a:tailEnd/>
          </a:ln>
        </p:spPr>
        <p:txBody>
          <a:bodyPr wrap="none" lIns="72000" tIns="72000" rIns="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a:solidFill>
                  <a:srgbClr val="FFFFFF"/>
                </a:solidFill>
                <a:latin typeface="Arial"/>
                <a:cs typeface="Arial" pitchFamily="34" charset="0"/>
              </a:rPr>
              <a:t>Строительные </a:t>
            </a:r>
            <a:r>
              <a:rPr lang="en-US" sz="1500" b="1" kern="0" dirty="0">
                <a:solidFill>
                  <a:srgbClr val="FFFFFF"/>
                </a:solidFill>
                <a:latin typeface="Arial"/>
                <a:cs typeface="Arial" pitchFamily="34" charset="0"/>
              </a:rPr>
              <a:t> </a:t>
            </a:r>
          </a:p>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a:solidFill>
                  <a:srgbClr val="FFFFFF"/>
                </a:solidFill>
                <a:latin typeface="Arial"/>
                <a:cs typeface="Arial" pitchFamily="34" charset="0"/>
              </a:rPr>
              <a:t>материалы </a:t>
            </a:r>
            <a:r>
              <a:rPr kumimoji="0" lang="en-US" sz="1500" b="1" i="0" u="none" strike="noStrike" kern="0" cap="none" spc="0" normalizeH="0" baseline="0" noProof="0" dirty="0">
                <a:ln>
                  <a:noFill/>
                </a:ln>
                <a:solidFill>
                  <a:srgbClr val="FFFFFF"/>
                </a:solidFill>
                <a:effectLst/>
                <a:uLnTx/>
                <a:uFillTx/>
                <a:latin typeface="Arial"/>
                <a:cs typeface="Arial" pitchFamily="34" charset="0"/>
              </a:rPr>
              <a:t> </a:t>
            </a:r>
          </a:p>
        </p:txBody>
      </p:sp>
      <p:cxnSp>
        <p:nvCxnSpPr>
          <p:cNvPr id="15" name="Straight Connector 14"/>
          <p:cNvCxnSpPr/>
          <p:nvPr/>
        </p:nvCxnSpPr>
        <p:spPr>
          <a:xfrm>
            <a:off x="0" y="1027326"/>
            <a:ext cx="9144000"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0" y="6450384"/>
            <a:ext cx="7706983"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sp>
        <p:nvSpPr>
          <p:cNvPr id="18" name="object 20"/>
          <p:cNvSpPr>
            <a:spLocks/>
          </p:cNvSpPr>
          <p:nvPr/>
        </p:nvSpPr>
        <p:spPr>
          <a:xfrm>
            <a:off x="346355" y="4670141"/>
            <a:ext cx="2627987" cy="1619998"/>
          </a:xfrm>
          <a:prstGeom prst="rect">
            <a:avLst/>
          </a:prstGeom>
          <a:blipFill>
            <a:blip r:embed="rId4"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8371914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RDB logo.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06983" y="5806941"/>
            <a:ext cx="1186192" cy="1051708"/>
          </a:xfrm>
          <a:prstGeom prst="rect">
            <a:avLst/>
          </a:prstGeom>
        </p:spPr>
      </p:pic>
      <p:sp>
        <p:nvSpPr>
          <p:cNvPr id="16" name="Rectangle 15"/>
          <p:cNvSpPr/>
          <p:nvPr/>
        </p:nvSpPr>
        <p:spPr>
          <a:xfrm>
            <a:off x="4793047" y="2275310"/>
            <a:ext cx="4100127" cy="1224000"/>
          </a:xfrm>
          <a:prstGeom prst="rect">
            <a:avLst/>
          </a:prstGeom>
          <a:solidFill>
            <a:srgbClr val="C7E0FB"/>
          </a:solidFill>
        </p:spPr>
        <p:txBody>
          <a:bodyPr wrap="square" lIns="288000" tIns="73152" rIns="73152" bIns="73152" anchor="ctr">
            <a:noAutofit/>
          </a:bodyPr>
          <a:lstStyle/>
          <a:p>
            <a:pPr marL="171450" lvl="0" indent="-171450" defTabSz="914400" eaLnBrk="0" hangingPunct="0">
              <a:lnSpc>
                <a:spcPct val="90000"/>
              </a:lnSpc>
              <a:spcAft>
                <a:spcPts val="600"/>
              </a:spcAft>
              <a:buClr>
                <a:srgbClr val="FF6600"/>
              </a:buClr>
              <a:buSzPct val="100000"/>
              <a:buFont typeface="Arial" pitchFamily="34" charset="0"/>
              <a:buChar char="•"/>
              <a:defRPr/>
            </a:pPr>
            <a:r>
              <a:rPr lang="ru-RU" sz="1200" kern="0" dirty="0">
                <a:solidFill>
                  <a:sysClr val="windowText" lastClr="000000"/>
                </a:solidFill>
                <a:cs typeface="Arial" pitchFamily="34" charset="0"/>
              </a:rPr>
              <a:t>Проект на основе государственно-частного партнёрства, эффективным фермерским хозяйствам будет выделен участок размером около</a:t>
            </a:r>
            <a:r>
              <a:rPr lang="en-US" sz="1200" kern="0" noProof="0" dirty="0">
                <a:solidFill>
                  <a:sysClr val="windowText" lastClr="000000"/>
                </a:solidFill>
                <a:cs typeface="Arial" pitchFamily="34" charset="0"/>
              </a:rPr>
              <a:t> </a:t>
            </a:r>
            <a:r>
              <a:rPr lang="en-US" sz="1200" b="1" kern="0" noProof="0" dirty="0">
                <a:solidFill>
                  <a:sysClr val="windowText" lastClr="000000"/>
                </a:solidFill>
                <a:cs typeface="Arial" pitchFamily="34" charset="0"/>
              </a:rPr>
              <a:t>16</a:t>
            </a:r>
            <a:r>
              <a:rPr lang="ru-RU" sz="1200" b="1" kern="0" noProof="0" dirty="0">
                <a:solidFill>
                  <a:sysClr val="windowText" lastClr="000000"/>
                </a:solidFill>
                <a:cs typeface="Arial" pitchFamily="34" charset="0"/>
              </a:rPr>
              <a:t> </a:t>
            </a:r>
            <a:r>
              <a:rPr lang="en-US" sz="1200" b="1" kern="0" noProof="0" dirty="0">
                <a:solidFill>
                  <a:sysClr val="windowText" lastClr="000000"/>
                </a:solidFill>
                <a:cs typeface="Arial" pitchFamily="34" charset="0"/>
              </a:rPr>
              <a:t>000 </a:t>
            </a:r>
            <a:r>
              <a:rPr lang="ru-RU" sz="1200" b="1" kern="0" noProof="0" dirty="0">
                <a:solidFill>
                  <a:sysClr val="windowText" lastClr="000000"/>
                </a:solidFill>
                <a:cs typeface="Arial" pitchFamily="34" charset="0"/>
              </a:rPr>
              <a:t>га</a:t>
            </a:r>
            <a:r>
              <a:rPr lang="en-US" sz="1200" b="1" kern="0" noProof="0" dirty="0">
                <a:solidFill>
                  <a:sysClr val="windowText" lastClr="000000"/>
                </a:solidFill>
                <a:cs typeface="Arial" pitchFamily="34" charset="0"/>
              </a:rPr>
              <a:t> </a:t>
            </a:r>
            <a:r>
              <a:rPr lang="ru-RU" sz="1200" b="1" kern="0" noProof="0" dirty="0">
                <a:solidFill>
                  <a:sysClr val="windowText" lastClr="000000"/>
                </a:solidFill>
                <a:cs typeface="Arial" pitchFamily="34" charset="0"/>
              </a:rPr>
              <a:t>в районе </a:t>
            </a:r>
            <a:r>
              <a:rPr lang="ru-RU" sz="1200" b="1" kern="0" noProof="0" dirty="0" err="1">
                <a:solidFill>
                  <a:sysClr val="windowText" lastClr="000000"/>
                </a:solidFill>
                <a:cs typeface="Arial" pitchFamily="34" charset="0"/>
              </a:rPr>
              <a:t>Габиро</a:t>
            </a:r>
            <a:endParaRPr lang="en-US" sz="1200" b="1" kern="0" noProof="0" dirty="0">
              <a:solidFill>
                <a:sysClr val="windowText" lastClr="000000"/>
              </a:solidFill>
              <a:cs typeface="Arial" pitchFamily="34" charset="0"/>
            </a:endParaRPr>
          </a:p>
          <a:p>
            <a:pPr marL="171450" marR="0" lvl="0" indent="-171450" defTabSz="914400" eaLnBrk="0" fontAlgn="auto" latinLnBrk="0" hangingPunct="0">
              <a:lnSpc>
                <a:spcPct val="90000"/>
              </a:lnSpc>
              <a:spcBef>
                <a:spcPts val="0"/>
              </a:spcBef>
              <a:spcAft>
                <a:spcPts val="600"/>
              </a:spcAft>
              <a:buClr>
                <a:srgbClr val="FF6600"/>
              </a:buClr>
              <a:buSzPct val="100000"/>
              <a:buFont typeface="Arial" pitchFamily="34" charset="0"/>
              <a:buChar char="•"/>
              <a:tabLst/>
              <a:defRPr/>
            </a:pPr>
            <a:r>
              <a:rPr lang="ru-RU" sz="1200" kern="0" dirty="0">
                <a:solidFill>
                  <a:sysClr val="windowText" lastClr="000000"/>
                </a:solidFill>
                <a:cs typeface="Arial" pitchFamily="34" charset="0"/>
              </a:rPr>
              <a:t>Гибридное финансирование (г-во плюс частный сектор) для обеспечения подачи воды и энергии и развития ирригационной инфраструктуры. </a:t>
            </a:r>
            <a:endParaRPr kumimoji="0" lang="en-US" sz="1200" b="0" i="0" u="none" strike="noStrike" kern="0" cap="none" spc="0" normalizeH="0" baseline="0" noProof="0" dirty="0">
              <a:ln>
                <a:noFill/>
              </a:ln>
              <a:solidFill>
                <a:sysClr val="windowText" lastClr="000000"/>
              </a:solidFill>
              <a:effectLst/>
              <a:uLnTx/>
              <a:uFillTx/>
              <a:cs typeface="Arial" pitchFamily="34" charset="0"/>
            </a:endParaRPr>
          </a:p>
        </p:txBody>
      </p:sp>
      <p:sp>
        <p:nvSpPr>
          <p:cNvPr id="17" name="Rectangle 16"/>
          <p:cNvSpPr/>
          <p:nvPr/>
        </p:nvSpPr>
        <p:spPr>
          <a:xfrm>
            <a:off x="4793047" y="3590602"/>
            <a:ext cx="4100128" cy="1224000"/>
          </a:xfrm>
          <a:prstGeom prst="rect">
            <a:avLst/>
          </a:prstGeom>
          <a:solidFill>
            <a:srgbClr val="C7E0FB"/>
          </a:solidFill>
        </p:spPr>
        <p:txBody>
          <a:bodyPr wrap="square" lIns="288000" tIns="73152" rIns="73152" bIns="73152" anchor="ctr">
            <a:noAutofit/>
          </a:bodyPr>
          <a:lstStyle/>
          <a:p>
            <a:pPr marL="171450" marR="0" lvl="0" indent="-171450" defTabSz="914400" eaLnBrk="0" fontAlgn="auto" latinLnBrk="0" hangingPunct="0">
              <a:lnSpc>
                <a:spcPct val="90000"/>
              </a:lnSpc>
              <a:spcBef>
                <a:spcPts val="0"/>
              </a:spcBef>
              <a:spcAft>
                <a:spcPts val="600"/>
              </a:spcAft>
              <a:buClr>
                <a:srgbClr val="FF6600"/>
              </a:buClr>
              <a:buSzPct val="100000"/>
              <a:buFont typeface="Arial" pitchFamily="34" charset="0"/>
              <a:buChar char="•"/>
              <a:tabLst/>
              <a:defRPr/>
            </a:pPr>
            <a:r>
              <a:rPr lang="ru-RU" sz="1200" kern="0" dirty="0">
                <a:solidFill>
                  <a:sysClr val="windowText" lastClr="000000"/>
                </a:solidFill>
                <a:cs typeface="Arial" pitchFamily="34" charset="0"/>
              </a:rPr>
              <a:t>Правительство планирует быстрое развитие этой отрасли в Руанде</a:t>
            </a:r>
            <a:endParaRPr lang="en-US" sz="1200" kern="0" dirty="0">
              <a:solidFill>
                <a:sysClr val="windowText" lastClr="000000"/>
              </a:solidFill>
              <a:cs typeface="Arial" pitchFamily="34" charset="0"/>
            </a:endParaRPr>
          </a:p>
          <a:p>
            <a:pPr marL="171450" marR="0" lvl="0" indent="-171450" defTabSz="914400" eaLnBrk="0" fontAlgn="auto" latinLnBrk="0" hangingPunct="0">
              <a:lnSpc>
                <a:spcPct val="90000"/>
              </a:lnSpc>
              <a:spcBef>
                <a:spcPts val="0"/>
              </a:spcBef>
              <a:spcAft>
                <a:spcPts val="600"/>
              </a:spcAft>
              <a:buClr>
                <a:srgbClr val="FF6600"/>
              </a:buClr>
              <a:buSzPct val="100000"/>
              <a:buFont typeface="Arial" pitchFamily="34" charset="0"/>
              <a:buChar char="•"/>
              <a:tabLst/>
              <a:defRPr/>
            </a:pPr>
            <a:r>
              <a:rPr kumimoji="0" lang="en-US" sz="1200" b="1" i="0" u="none" strike="noStrike" kern="0" cap="none" spc="0" normalizeH="0" baseline="0" dirty="0">
                <a:ln>
                  <a:noFill/>
                </a:ln>
                <a:solidFill>
                  <a:sysClr val="windowText" lastClr="000000"/>
                </a:solidFill>
                <a:effectLst/>
                <a:uLnTx/>
                <a:uFillTx/>
                <a:cs typeface="Arial" pitchFamily="34" charset="0"/>
              </a:rPr>
              <a:t>65</a:t>
            </a:r>
            <a:r>
              <a:rPr kumimoji="0" lang="en-US" sz="1200" b="1" i="0" u="none" strike="noStrike" kern="0" cap="none" spc="0" normalizeH="0" dirty="0">
                <a:ln>
                  <a:noFill/>
                </a:ln>
                <a:solidFill>
                  <a:sysClr val="windowText" lastClr="000000"/>
                </a:solidFill>
                <a:effectLst/>
                <a:uLnTx/>
                <a:uFillTx/>
                <a:cs typeface="Arial" pitchFamily="34" charset="0"/>
              </a:rPr>
              <a:t> </a:t>
            </a:r>
            <a:r>
              <a:rPr kumimoji="0" lang="ru-RU" sz="1200" b="1" i="0" u="none" strike="noStrike" kern="0" cap="none" spc="0" normalizeH="0" dirty="0">
                <a:ln>
                  <a:noFill/>
                </a:ln>
                <a:solidFill>
                  <a:sysClr val="windowText" lastClr="000000"/>
                </a:solidFill>
                <a:effectLst/>
                <a:uLnTx/>
                <a:uFillTx/>
                <a:cs typeface="Arial" pitchFamily="34" charset="0"/>
              </a:rPr>
              <a:t>га земли в районе </a:t>
            </a:r>
            <a:r>
              <a:rPr kumimoji="0" lang="ru-RU" sz="1200" b="1" i="0" u="none" strike="noStrike" kern="0" cap="none" spc="0" normalizeH="0" dirty="0" err="1">
                <a:ln>
                  <a:noFill/>
                </a:ln>
                <a:solidFill>
                  <a:sysClr val="windowText" lastClr="000000"/>
                </a:solidFill>
                <a:effectLst/>
                <a:uLnTx/>
                <a:uFillTx/>
                <a:cs typeface="Arial" pitchFamily="34" charset="0"/>
              </a:rPr>
              <a:t>Гишари</a:t>
            </a:r>
            <a:r>
              <a:rPr kumimoji="0" lang="en-US" sz="1200" b="1" i="0" u="none" strike="noStrike" kern="0" cap="none" spc="0" normalizeH="0" dirty="0">
                <a:ln>
                  <a:noFill/>
                </a:ln>
                <a:solidFill>
                  <a:sysClr val="windowText" lastClr="000000"/>
                </a:solidFill>
                <a:effectLst/>
                <a:uLnTx/>
                <a:uFillTx/>
                <a:cs typeface="Arial" pitchFamily="34" charset="0"/>
              </a:rPr>
              <a:t> </a:t>
            </a:r>
            <a:r>
              <a:rPr kumimoji="0" lang="ru-RU" sz="1200" b="1" i="0" u="none" strike="noStrike" kern="0" cap="none" spc="0" normalizeH="0" dirty="0">
                <a:ln>
                  <a:noFill/>
                </a:ln>
                <a:solidFill>
                  <a:sysClr val="windowText" lastClr="000000"/>
                </a:solidFill>
                <a:effectLst/>
                <a:uLnTx/>
                <a:uFillTx/>
                <a:cs typeface="Arial" pitchFamily="34" charset="0"/>
              </a:rPr>
              <a:t>и </a:t>
            </a:r>
            <a:r>
              <a:rPr kumimoji="0" lang="en-US" sz="1200" b="1" i="0" u="none" strike="noStrike" kern="0" cap="none" spc="0" normalizeH="0" dirty="0">
                <a:ln>
                  <a:noFill/>
                </a:ln>
                <a:solidFill>
                  <a:sysClr val="windowText" lastClr="000000"/>
                </a:solidFill>
                <a:effectLst/>
                <a:uLnTx/>
                <a:uFillTx/>
                <a:cs typeface="Arial" pitchFamily="34" charset="0"/>
              </a:rPr>
              <a:t>15 </a:t>
            </a:r>
            <a:r>
              <a:rPr kumimoji="0" lang="ru-RU" sz="1200" b="1" i="0" u="none" strike="noStrike" kern="0" cap="none" spc="0" normalizeH="0" dirty="0">
                <a:ln>
                  <a:noFill/>
                </a:ln>
                <a:solidFill>
                  <a:sysClr val="windowText" lastClr="000000"/>
                </a:solidFill>
                <a:effectLst/>
                <a:uLnTx/>
                <a:uFillTx/>
                <a:cs typeface="Arial" pitchFamily="34" charset="0"/>
              </a:rPr>
              <a:t>га в </a:t>
            </a:r>
            <a:r>
              <a:rPr kumimoji="0" lang="ru-RU" sz="1200" b="1" i="0" u="none" strike="noStrike" kern="0" cap="none" spc="0" normalizeH="0" dirty="0" err="1">
                <a:ln>
                  <a:noFill/>
                </a:ln>
                <a:solidFill>
                  <a:sysClr val="windowText" lastClr="000000"/>
                </a:solidFill>
                <a:effectLst/>
                <a:uLnTx/>
                <a:uFillTx/>
                <a:cs typeface="Arial" pitchFamily="34" charset="0"/>
              </a:rPr>
              <a:t>Ньясионге</a:t>
            </a:r>
            <a:r>
              <a:rPr kumimoji="0" lang="ru-RU" sz="1200" b="1" i="0" u="none" strike="noStrike" kern="0" cap="none" spc="0" normalizeH="0" dirty="0">
                <a:ln>
                  <a:noFill/>
                </a:ln>
                <a:solidFill>
                  <a:sysClr val="windowText" lastClr="000000"/>
                </a:solidFill>
                <a:effectLst/>
                <a:uLnTx/>
                <a:uFillTx/>
                <a:cs typeface="Arial" pitchFamily="34" charset="0"/>
              </a:rPr>
              <a:t> </a:t>
            </a:r>
            <a:r>
              <a:rPr kumimoji="0" lang="ru-RU" sz="1200" i="0" u="none" strike="noStrike" kern="0" cap="none" spc="0" normalizeH="0" dirty="0">
                <a:ln>
                  <a:noFill/>
                </a:ln>
                <a:solidFill>
                  <a:sysClr val="windowText" lastClr="000000"/>
                </a:solidFill>
                <a:effectLst/>
                <a:uLnTx/>
                <a:uFillTx/>
                <a:cs typeface="Arial" pitchFamily="34" charset="0"/>
              </a:rPr>
              <a:t>готовы к целевому освоению либо на арендных условия либо по договору купли-продажи</a:t>
            </a:r>
            <a:endParaRPr kumimoji="0" lang="en-US" sz="1200" i="0" u="none" strike="noStrike" kern="0" cap="none" spc="0" normalizeH="0" baseline="0" dirty="0">
              <a:ln>
                <a:noFill/>
              </a:ln>
              <a:solidFill>
                <a:sysClr val="windowText" lastClr="000000"/>
              </a:solidFill>
              <a:effectLst/>
              <a:uLnTx/>
              <a:uFillTx/>
              <a:cs typeface="Arial" pitchFamily="34" charset="0"/>
            </a:endParaRPr>
          </a:p>
        </p:txBody>
      </p:sp>
      <p:sp>
        <p:nvSpPr>
          <p:cNvPr id="18" name="Rectangle 17"/>
          <p:cNvSpPr/>
          <p:nvPr/>
        </p:nvSpPr>
        <p:spPr>
          <a:xfrm>
            <a:off x="4793047" y="4905894"/>
            <a:ext cx="4100128" cy="1224000"/>
          </a:xfrm>
          <a:prstGeom prst="rect">
            <a:avLst/>
          </a:prstGeom>
          <a:solidFill>
            <a:srgbClr val="C7E0FB"/>
          </a:solidFill>
        </p:spPr>
        <p:txBody>
          <a:bodyPr wrap="square" lIns="288000" tIns="73152" rIns="73152" bIns="73152" anchor="ctr">
            <a:noAutofit/>
          </a:bodyPr>
          <a:lstStyle/>
          <a:p>
            <a:pPr marL="171450" lvl="0" indent="-171450" defTabSz="914400" eaLnBrk="0" hangingPunct="0">
              <a:lnSpc>
                <a:spcPct val="90000"/>
              </a:lnSpc>
              <a:spcAft>
                <a:spcPts val="600"/>
              </a:spcAft>
              <a:buClr>
                <a:srgbClr val="FF6600"/>
              </a:buClr>
              <a:buSzPct val="100000"/>
              <a:buFont typeface="Arial" pitchFamily="34" charset="0"/>
              <a:buChar char="•"/>
            </a:pPr>
            <a:r>
              <a:rPr lang="ru-RU" sz="1200" dirty="0"/>
              <a:t>Высокий спрос на мясную продукцию как внутри страны, так и в регионе ВАС</a:t>
            </a:r>
            <a:r>
              <a:rPr lang="en-US" sz="1200" dirty="0"/>
              <a:t>. </a:t>
            </a:r>
          </a:p>
          <a:p>
            <a:pPr marL="171450" lvl="0" indent="-171450" defTabSz="914400" eaLnBrk="0" hangingPunct="0">
              <a:lnSpc>
                <a:spcPct val="90000"/>
              </a:lnSpc>
              <a:spcAft>
                <a:spcPts val="600"/>
              </a:spcAft>
              <a:buClr>
                <a:srgbClr val="FF6600"/>
              </a:buClr>
              <a:buSzPct val="100000"/>
              <a:buFont typeface="Arial" pitchFamily="34" charset="0"/>
              <a:buChar char="•"/>
            </a:pPr>
            <a:r>
              <a:rPr lang="ru-RU" sz="1200" dirty="0"/>
              <a:t>Потенциал поставки замороженной продукции </a:t>
            </a:r>
            <a:r>
              <a:rPr lang="ru-RU" sz="1200" b="1" dirty="0"/>
              <a:t>из Руанды только в одну ДРК может составить </a:t>
            </a:r>
            <a:r>
              <a:rPr lang="en-US" sz="1200" b="1" dirty="0"/>
              <a:t>$107</a:t>
            </a:r>
            <a:r>
              <a:rPr lang="ru-RU" sz="1200" b="1" dirty="0"/>
              <a:t>М</a:t>
            </a:r>
            <a:r>
              <a:rPr lang="en-US" sz="1200" b="1" dirty="0"/>
              <a:t>. </a:t>
            </a:r>
            <a:r>
              <a:rPr lang="ru-RU" sz="1200" dirty="0"/>
              <a:t>Только за </a:t>
            </a:r>
            <a:r>
              <a:rPr lang="en-GB" sz="1200" dirty="0"/>
              <a:t>9 </a:t>
            </a:r>
            <a:r>
              <a:rPr lang="ru-RU" sz="1200" dirty="0"/>
              <a:t>месяцев в</a:t>
            </a:r>
            <a:r>
              <a:rPr lang="en-GB" sz="1200" dirty="0"/>
              <a:t> 2016</a:t>
            </a:r>
            <a:r>
              <a:rPr lang="ru-RU" sz="1200" dirty="0"/>
              <a:t>г</a:t>
            </a:r>
            <a:r>
              <a:rPr lang="en-GB" sz="1200" dirty="0"/>
              <a:t>, </a:t>
            </a:r>
            <a:r>
              <a:rPr lang="ru-RU" sz="1200" dirty="0"/>
              <a:t>Руанда импортировала мясной продукции на </a:t>
            </a:r>
            <a:r>
              <a:rPr lang="en-GB" sz="1200" b="1" dirty="0"/>
              <a:t>154</a:t>
            </a:r>
            <a:r>
              <a:rPr lang="ru-RU" sz="1200" b="1" dirty="0"/>
              <a:t>М </a:t>
            </a:r>
            <a:r>
              <a:rPr lang="en-GB" sz="1200" b="1" dirty="0"/>
              <a:t>RWF</a:t>
            </a:r>
            <a:endParaRPr kumimoji="0" lang="en-US" sz="1200" b="0" i="0" u="none" strike="noStrike" kern="0" cap="none" spc="0" normalizeH="0" noProof="0" dirty="0">
              <a:ln>
                <a:noFill/>
              </a:ln>
              <a:solidFill>
                <a:sysClr val="windowText" lastClr="000000"/>
              </a:solidFill>
              <a:effectLst/>
              <a:uLnTx/>
              <a:uFillTx/>
              <a:cs typeface="Arial" pitchFamily="34" charset="0"/>
            </a:endParaRPr>
          </a:p>
        </p:txBody>
      </p:sp>
      <p:sp>
        <p:nvSpPr>
          <p:cNvPr id="19" name="Title 3"/>
          <p:cNvSpPr txBox="1">
            <a:spLocks/>
          </p:cNvSpPr>
          <p:nvPr/>
        </p:nvSpPr>
        <p:spPr bwMode="auto">
          <a:xfrm>
            <a:off x="250825" y="266947"/>
            <a:ext cx="8642350"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lnSpc>
                <a:spcPct val="90000"/>
              </a:lnSpc>
              <a:spcBef>
                <a:spcPct val="0"/>
              </a:spcBef>
              <a:spcAft>
                <a:spcPct val="0"/>
              </a:spcAft>
              <a:defRPr sz="2400" b="1" kern="1200">
                <a:solidFill>
                  <a:schemeClr val="tx2"/>
                </a:solidFill>
                <a:latin typeface="Arial"/>
                <a:ea typeface="+mj-ea"/>
                <a:cs typeface="Arial"/>
                <a:sym typeface="Arial"/>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ru-RU" sz="2800" b="1" i="0" u="none" strike="noStrike" kern="1200" cap="none" spc="0" normalizeH="0" baseline="0" noProof="0" dirty="0">
                <a:ln>
                  <a:noFill/>
                </a:ln>
                <a:solidFill>
                  <a:srgbClr val="002960"/>
                </a:solidFill>
                <a:effectLst/>
                <a:uLnTx/>
                <a:uFillTx/>
                <a:latin typeface="Arial"/>
                <a:ea typeface="+mj-ea"/>
                <a:cs typeface="Arial"/>
                <a:sym typeface="Arial"/>
              </a:rPr>
              <a:t>Сельское хозяйство и животноводство</a:t>
            </a:r>
            <a:endParaRPr kumimoji="0" lang="en-GB" sz="2800" b="1" i="0" u="none" strike="noStrike" kern="1200" cap="none" spc="0" normalizeH="0" baseline="0" noProof="0" dirty="0">
              <a:ln>
                <a:noFill/>
              </a:ln>
              <a:solidFill>
                <a:srgbClr val="002960"/>
              </a:solidFill>
              <a:effectLst/>
              <a:uLnTx/>
              <a:uFillTx/>
              <a:latin typeface="Arial"/>
              <a:ea typeface="+mj-ea"/>
              <a:cs typeface="Arial"/>
              <a:sym typeface="Arial"/>
            </a:endParaRPr>
          </a:p>
        </p:txBody>
      </p:sp>
      <p:sp>
        <p:nvSpPr>
          <p:cNvPr id="20" name="TextBox 19"/>
          <p:cNvSpPr txBox="1"/>
          <p:nvPr/>
        </p:nvSpPr>
        <p:spPr bwMode="gray">
          <a:xfrm>
            <a:off x="497557" y="1251775"/>
            <a:ext cx="8148885" cy="249299"/>
          </a:xfrm>
          <a:prstGeom prst="rect">
            <a:avLst/>
          </a:prstGeom>
          <a:noFill/>
          <a:ln w="6350">
            <a:noFill/>
          </a:ln>
          <a:extLst>
            <a:ext uri="{91240B29-F687-4F45-9708-019B960494DF}">
              <a14:hiddenLine xmlns:a14="http://schemas.microsoft.com/office/drawing/2010/main" w="6350">
                <a:solidFill>
                  <a:srgbClr val="ADABA1"/>
                </a:solidFill>
              </a14:hiddenLine>
            </a:ext>
          </a:extLst>
        </p:spPr>
        <p:txBody>
          <a:bodyPr wrap="square" lIns="0" tIns="0" rIns="0" bIns="0" rtlCol="0" anchor="t" anchorCtr="0">
            <a:spAutoFit/>
          </a:bodyPr>
          <a:lstStyle/>
          <a:p>
            <a:pPr algn="ctr">
              <a:lnSpc>
                <a:spcPct val="90000"/>
              </a:lnSpc>
            </a:pPr>
            <a:r>
              <a:rPr lang="ru-RU" b="1" dirty="0">
                <a:latin typeface="Arial"/>
                <a:cs typeface="Arial" pitchFamily="34" charset="0"/>
              </a:rPr>
              <a:t>Инвестиционные возможности в с/х производстве и переработке</a:t>
            </a:r>
            <a:endParaRPr lang="en-US" b="1" dirty="0">
              <a:latin typeface="Arial"/>
              <a:cs typeface="Arial" pitchFamily="34" charset="0"/>
            </a:endParaRPr>
          </a:p>
        </p:txBody>
      </p:sp>
      <p:sp>
        <p:nvSpPr>
          <p:cNvPr id="21" name="Rectangle 20"/>
          <p:cNvSpPr/>
          <p:nvPr/>
        </p:nvSpPr>
        <p:spPr>
          <a:xfrm>
            <a:off x="3275856" y="1773238"/>
            <a:ext cx="5617319" cy="411058"/>
          </a:xfrm>
          <a:prstGeom prst="rect">
            <a:avLst/>
          </a:prstGeom>
          <a:solidFill>
            <a:srgbClr val="002960"/>
          </a:solidFill>
          <a:ln w="9525" cap="flat" cmpd="sng" algn="ctr">
            <a:solidFill>
              <a:srgbClr val="002960"/>
            </a:solidFill>
            <a:prstDash val="solid"/>
          </a:ln>
          <a:effectLst/>
          <a:extLst/>
        </p:spPr>
        <p:txBody>
          <a:bodyPr rot="0" spcFirstLastPara="0" vertOverflow="overflow" horzOverflow="overflow" vert="horz" wrap="square" lIns="72009" tIns="72009" rIns="72009" bIns="72009" numCol="1" spcCol="0" rtlCol="0" fromWordArt="0" anchor="ctr" anchorCtr="0" forceAA="0" compatLnSpc="1">
            <a:prstTxWarp prst="textNoShape">
              <a:avLst/>
            </a:prstTxWarp>
            <a:noAutofit/>
          </a:bodyPr>
          <a:lstStyle/>
          <a:p>
            <a:pPr algn="ctr" defTabSz="914400" fontAlgn="base">
              <a:lnSpc>
                <a:spcPct val="90000"/>
              </a:lnSpc>
              <a:spcBef>
                <a:spcPct val="0"/>
              </a:spcBef>
              <a:spcAft>
                <a:spcPct val="0"/>
              </a:spcAft>
              <a:defRPr/>
            </a:pPr>
            <a:r>
              <a:rPr lang="ru-RU" sz="1600" b="1" kern="0" dirty="0">
                <a:solidFill>
                  <a:srgbClr val="FFFFFF"/>
                </a:solidFill>
                <a:latin typeface="Arial"/>
                <a:cs typeface="Arial"/>
              </a:rPr>
              <a:t>Инвестиционные возможности</a:t>
            </a:r>
            <a:endParaRPr lang="en-US" sz="1600" b="1" kern="0" dirty="0">
              <a:solidFill>
                <a:srgbClr val="FFFFFF"/>
              </a:solidFill>
              <a:latin typeface="Arial"/>
              <a:cs typeface="Arial"/>
            </a:endParaRPr>
          </a:p>
        </p:txBody>
      </p:sp>
      <p:sp>
        <p:nvSpPr>
          <p:cNvPr id="22" name="Pentagon 21"/>
          <p:cNvSpPr/>
          <p:nvPr/>
        </p:nvSpPr>
        <p:spPr>
          <a:xfrm>
            <a:off x="250825" y="1772816"/>
            <a:ext cx="2900804" cy="411480"/>
          </a:xfrm>
          <a:prstGeom prst="homePlate">
            <a:avLst>
              <a:gd name="adj" fmla="val 19760"/>
            </a:avLst>
          </a:prstGeom>
          <a:solidFill>
            <a:srgbClr val="002960"/>
          </a:solidFill>
          <a:ln w="6350">
            <a:solidFill>
              <a:srgbClr val="002960"/>
            </a:solidFill>
            <a:miter lim="800000"/>
            <a:headEnd/>
            <a:tailEnd/>
          </a:ln>
        </p:spPr>
        <p:txBody>
          <a:bodyPr lIns="72000" tIns="72000" rIns="72000" bIns="72000" anchor="ctr"/>
          <a:lstStyle/>
          <a:p>
            <a:pPr marL="0" marR="0" lvl="0" indent="0" algn="ctr" defTabSz="914400" eaLnBrk="0" fontAlgn="auto" latinLnBrk="0" hangingPunct="0">
              <a:lnSpc>
                <a:spcPct val="90000"/>
              </a:lnSpc>
              <a:spcBef>
                <a:spcPct val="0"/>
              </a:spcBef>
              <a:spcAft>
                <a:spcPts val="0"/>
              </a:spcAft>
              <a:buClrTx/>
              <a:buSzTx/>
              <a:buFontTx/>
              <a:buNone/>
              <a:tabLst/>
              <a:defRPr/>
            </a:pPr>
            <a:r>
              <a:rPr kumimoji="0" lang="ru-RU" sz="1600" b="1" i="0" u="none" strike="noStrike" kern="0" cap="none" spc="0" normalizeH="0" baseline="0" noProof="0" dirty="0">
                <a:ln>
                  <a:noFill/>
                </a:ln>
                <a:solidFill>
                  <a:srgbClr val="FFFFFF"/>
                </a:solidFill>
                <a:effectLst/>
                <a:uLnTx/>
                <a:uFillTx/>
                <a:latin typeface="Arial"/>
                <a:cs typeface="Arial" pitchFamily="34" charset="0"/>
              </a:rPr>
              <a:t>Обзор</a:t>
            </a:r>
            <a:endParaRPr kumimoji="0" lang="en-US" sz="1600" b="1" i="0" u="none" strike="noStrike" kern="0" cap="none" spc="0" normalizeH="0" baseline="0" noProof="0" dirty="0">
              <a:ln>
                <a:noFill/>
              </a:ln>
              <a:solidFill>
                <a:srgbClr val="FFFFFF"/>
              </a:solidFill>
              <a:effectLst/>
              <a:uLnTx/>
              <a:uFillTx/>
              <a:latin typeface="Arial"/>
              <a:cs typeface="Arial" pitchFamily="34" charset="0"/>
            </a:endParaRPr>
          </a:p>
        </p:txBody>
      </p:sp>
      <p:sp>
        <p:nvSpPr>
          <p:cNvPr id="23" name="Rectangle 8"/>
          <p:cNvSpPr>
            <a:spLocks noChangeArrowheads="1"/>
          </p:cNvSpPr>
          <p:nvPr/>
        </p:nvSpPr>
        <p:spPr bwMode="gray">
          <a:xfrm>
            <a:off x="250825" y="2184294"/>
            <a:ext cx="2819048" cy="3945600"/>
          </a:xfrm>
          <a:prstGeom prst="rect">
            <a:avLst/>
          </a:prstGeom>
          <a:noFill/>
          <a:ln w="6350">
            <a:solidFill>
              <a:srgbClr val="002960"/>
            </a:solidFill>
            <a:miter lim="800000"/>
            <a:headEnd/>
            <a:tailEnd/>
          </a:ln>
        </p:spPr>
        <p:txBody>
          <a:bodyPr wrap="square" lIns="91440" tIns="91440" rIns="0" bIns="0" anchorCtr="0">
            <a:noAutofit/>
          </a:bodyPr>
          <a:lstStyle/>
          <a:p>
            <a:pPr marL="171450" marR="0" lvl="0" indent="-171450" defTabSz="966788" eaLnBrk="0" fontAlgn="auto" latinLnBrk="0" hangingPunct="0">
              <a:lnSpc>
                <a:spcPct val="90000"/>
              </a:lnSpc>
              <a:spcBef>
                <a:spcPts val="900"/>
              </a:spcBef>
              <a:spcAft>
                <a:spcPts val="0"/>
              </a:spcAft>
              <a:buClr>
                <a:srgbClr val="FF6600"/>
              </a:buClr>
              <a:buSzPct val="100000"/>
              <a:buFont typeface="Arial" pitchFamily="34" charset="0"/>
              <a:buChar char="•"/>
              <a:tabLst/>
              <a:defRPr/>
            </a:pPr>
            <a:endParaRPr kumimoji="0" lang="ru-RU" sz="1400" b="0" i="0" u="none" strike="noStrike" kern="0" cap="none" spc="0" normalizeH="0" baseline="0" noProof="0" dirty="0">
              <a:ln>
                <a:noFill/>
              </a:ln>
              <a:solidFill>
                <a:sysClr val="windowText" lastClr="000000"/>
              </a:solidFill>
              <a:effectLst/>
              <a:uLnTx/>
              <a:uFillTx/>
              <a:latin typeface="Arial"/>
              <a:cs typeface="Arial" pitchFamily="34" charset="0"/>
            </a:endParaRPr>
          </a:p>
          <a:p>
            <a:pPr marL="171450" marR="0" lvl="0" indent="-171450" defTabSz="966788" eaLnBrk="0" fontAlgn="auto" latinLnBrk="0" hangingPunct="0">
              <a:lnSpc>
                <a:spcPct val="90000"/>
              </a:lnSpc>
              <a:spcBef>
                <a:spcPts val="900"/>
              </a:spcBef>
              <a:spcAft>
                <a:spcPts val="0"/>
              </a:spcAft>
              <a:buClr>
                <a:srgbClr val="FF6600"/>
              </a:buClr>
              <a:buSzPct val="100000"/>
              <a:buFont typeface="Arial" pitchFamily="34" charset="0"/>
              <a:buChar char="•"/>
              <a:tabLst/>
              <a:defRPr/>
            </a:pPr>
            <a:r>
              <a:rPr kumimoji="0" lang="ru-RU" sz="1400" b="0" i="0" u="none" strike="noStrike" kern="0" cap="none" spc="0" normalizeH="0" baseline="0" noProof="0" dirty="0">
                <a:ln>
                  <a:noFill/>
                </a:ln>
                <a:solidFill>
                  <a:sysClr val="windowText" lastClr="000000"/>
                </a:solidFill>
                <a:effectLst/>
                <a:uLnTx/>
                <a:uFillTx/>
                <a:latin typeface="Arial"/>
                <a:cs typeface="Arial" pitchFamily="34" charset="0"/>
              </a:rPr>
              <a:t>С/х отрасли вырабатывают 1/3 ВВП Руанды, в них заняты около 70% всего населения. </a:t>
            </a:r>
          </a:p>
          <a:p>
            <a:pPr marL="171450" marR="0" lvl="0" indent="-171450" defTabSz="966788" eaLnBrk="0" fontAlgn="auto" latinLnBrk="0" hangingPunct="0">
              <a:lnSpc>
                <a:spcPct val="90000"/>
              </a:lnSpc>
              <a:spcBef>
                <a:spcPts val="900"/>
              </a:spcBef>
              <a:spcAft>
                <a:spcPts val="0"/>
              </a:spcAft>
              <a:buClr>
                <a:srgbClr val="FF6600"/>
              </a:buClr>
              <a:buSzPct val="100000"/>
              <a:buFont typeface="Arial" pitchFamily="34" charset="0"/>
              <a:buChar char="•"/>
              <a:tabLst/>
              <a:defRPr/>
            </a:pPr>
            <a:r>
              <a:rPr lang="ru-RU" sz="1400" kern="0" dirty="0">
                <a:solidFill>
                  <a:sysClr val="windowText" lastClr="000000"/>
                </a:solidFill>
                <a:latin typeface="Arial"/>
                <a:cs typeface="Arial" pitchFamily="34" charset="0"/>
              </a:rPr>
              <a:t>Годовой темп роста –</a:t>
            </a:r>
            <a:r>
              <a:rPr lang="en-US" sz="1400" kern="0" dirty="0">
                <a:solidFill>
                  <a:sysClr val="windowText" lastClr="000000"/>
                </a:solidFill>
                <a:latin typeface="Arial"/>
                <a:cs typeface="Arial" pitchFamily="34" charset="0"/>
              </a:rPr>
              <a:t> 5.5%</a:t>
            </a:r>
            <a:r>
              <a:rPr lang="ru-RU" sz="1400" kern="0" dirty="0">
                <a:solidFill>
                  <a:sysClr val="windowText" lastClr="000000"/>
                </a:solidFill>
                <a:latin typeface="Arial"/>
                <a:cs typeface="Arial" pitchFamily="34" charset="0"/>
              </a:rPr>
              <a:t>, ожидается рост до </a:t>
            </a:r>
            <a:r>
              <a:rPr lang="en-US" sz="1400" kern="0" dirty="0">
                <a:solidFill>
                  <a:sysClr val="windowText" lastClr="000000"/>
                </a:solidFill>
                <a:latin typeface="Arial"/>
                <a:cs typeface="Arial" pitchFamily="34" charset="0"/>
              </a:rPr>
              <a:t>8.5% </a:t>
            </a:r>
            <a:r>
              <a:rPr lang="ru-RU" sz="1400" kern="0" dirty="0">
                <a:solidFill>
                  <a:sysClr val="windowText" lastClr="000000"/>
                </a:solidFill>
                <a:latin typeface="Arial"/>
                <a:cs typeface="Arial" pitchFamily="34" charset="0"/>
              </a:rPr>
              <a:t>к</a:t>
            </a:r>
            <a:r>
              <a:rPr lang="en-US" sz="1400" kern="0" dirty="0">
                <a:solidFill>
                  <a:sysClr val="windowText" lastClr="000000"/>
                </a:solidFill>
                <a:latin typeface="Arial"/>
                <a:cs typeface="Arial" pitchFamily="34" charset="0"/>
              </a:rPr>
              <a:t> 2018</a:t>
            </a:r>
            <a:r>
              <a:rPr lang="ru-RU" sz="1400" kern="0" dirty="0">
                <a:solidFill>
                  <a:sysClr val="windowText" lastClr="000000"/>
                </a:solidFill>
                <a:latin typeface="Arial"/>
                <a:cs typeface="Arial" pitchFamily="34" charset="0"/>
              </a:rPr>
              <a:t>г</a:t>
            </a:r>
            <a:r>
              <a:rPr lang="en-US" sz="1400" kern="0" dirty="0">
                <a:solidFill>
                  <a:sysClr val="windowText" lastClr="000000"/>
                </a:solidFill>
                <a:latin typeface="Arial"/>
                <a:cs typeface="Arial" pitchFamily="34" charset="0"/>
              </a:rPr>
              <a:t>.</a:t>
            </a:r>
            <a:endParaRPr kumimoji="0" lang="en-US" sz="1400" b="0" i="0" u="none" strike="noStrike" kern="0" cap="none" spc="0" normalizeH="0" baseline="0" noProof="0" dirty="0">
              <a:ln>
                <a:noFill/>
              </a:ln>
              <a:solidFill>
                <a:sysClr val="windowText" lastClr="000000"/>
              </a:solidFill>
              <a:effectLst/>
              <a:uLnTx/>
              <a:uFillTx/>
              <a:latin typeface="Arial"/>
              <a:cs typeface="Arial" pitchFamily="34" charset="0"/>
            </a:endParaRPr>
          </a:p>
        </p:txBody>
      </p:sp>
      <p:sp>
        <p:nvSpPr>
          <p:cNvPr id="24" name="Pentagon 23"/>
          <p:cNvSpPr/>
          <p:nvPr/>
        </p:nvSpPr>
        <p:spPr>
          <a:xfrm>
            <a:off x="3275856" y="2275310"/>
            <a:ext cx="1776644" cy="1224000"/>
          </a:xfrm>
          <a:prstGeom prst="homePlate">
            <a:avLst>
              <a:gd name="adj" fmla="val 19760"/>
            </a:avLst>
          </a:prstGeom>
          <a:solidFill>
            <a:srgbClr val="0066CC"/>
          </a:solidFill>
          <a:ln w="6350">
            <a:noFill/>
            <a:miter lim="800000"/>
            <a:headEnd/>
            <a:tailEnd/>
          </a:ln>
        </p:spPr>
        <p:txBody>
          <a:bodyPr lIns="72000" tIns="72000" rIns="72000" bIns="72000" anchor="ctr"/>
          <a:lstStyle/>
          <a:p>
            <a:pPr lvl="0" defTabSz="914400" eaLnBrk="0" hangingPunct="0">
              <a:lnSpc>
                <a:spcPct val="90000"/>
              </a:lnSpc>
              <a:spcBef>
                <a:spcPct val="0"/>
              </a:spcBef>
              <a:defRPr/>
            </a:pPr>
            <a:r>
              <a:rPr lang="ru-RU" sz="1500" b="1" kern="0" dirty="0">
                <a:solidFill>
                  <a:srgbClr val="FFFFFF"/>
                </a:solidFill>
                <a:latin typeface="Arial"/>
                <a:cs typeface="Arial" pitchFamily="34" charset="0"/>
              </a:rPr>
              <a:t>Проект по развитию ирригационной системы и фермерства в </a:t>
            </a:r>
            <a:r>
              <a:rPr lang="ru-RU" sz="1500" b="1" kern="0" dirty="0" err="1">
                <a:solidFill>
                  <a:srgbClr val="FFFFFF"/>
                </a:solidFill>
                <a:latin typeface="Arial"/>
                <a:cs typeface="Arial" pitchFamily="34" charset="0"/>
              </a:rPr>
              <a:t>Габиро</a:t>
            </a:r>
            <a:r>
              <a:rPr lang="ru-RU" sz="1500" b="1" kern="0" dirty="0">
                <a:solidFill>
                  <a:srgbClr val="FFFFFF"/>
                </a:solidFill>
                <a:latin typeface="Arial"/>
                <a:cs typeface="Arial" pitchFamily="34" charset="0"/>
              </a:rPr>
              <a:t> </a:t>
            </a:r>
            <a:r>
              <a:rPr lang="en-US" sz="1500" b="1" kern="0" dirty="0">
                <a:solidFill>
                  <a:srgbClr val="FFFFFF"/>
                </a:solidFill>
                <a:latin typeface="Arial"/>
                <a:cs typeface="Arial" pitchFamily="34" charset="0"/>
              </a:rPr>
              <a:t>($200</a:t>
            </a:r>
            <a:r>
              <a:rPr lang="ru-RU" sz="1500" b="1" kern="0" dirty="0">
                <a:solidFill>
                  <a:srgbClr val="FFFFFF"/>
                </a:solidFill>
                <a:latin typeface="Arial"/>
                <a:cs typeface="Arial" pitchFamily="34" charset="0"/>
              </a:rPr>
              <a:t>М</a:t>
            </a:r>
            <a:r>
              <a:rPr lang="en-US" sz="1500" b="1" kern="0" dirty="0">
                <a:solidFill>
                  <a:srgbClr val="FFFFFF"/>
                </a:solidFill>
                <a:latin typeface="Arial"/>
                <a:cs typeface="Arial" pitchFamily="34" charset="0"/>
              </a:rPr>
              <a:t>)</a:t>
            </a:r>
          </a:p>
        </p:txBody>
      </p:sp>
      <p:sp>
        <p:nvSpPr>
          <p:cNvPr id="25" name="Pentagon 24"/>
          <p:cNvSpPr/>
          <p:nvPr/>
        </p:nvSpPr>
        <p:spPr>
          <a:xfrm>
            <a:off x="3275856" y="3590602"/>
            <a:ext cx="1776644" cy="1224000"/>
          </a:xfrm>
          <a:prstGeom prst="homePlate">
            <a:avLst>
              <a:gd name="adj" fmla="val 19760"/>
            </a:avLst>
          </a:prstGeom>
          <a:solidFill>
            <a:srgbClr val="0066CC"/>
          </a:solidFill>
          <a:ln w="6350">
            <a:noFill/>
            <a:miter lim="800000"/>
            <a:headEnd/>
            <a:tailEnd/>
          </a:ln>
        </p:spPr>
        <p:txBody>
          <a:bodyPr wrap="none" lIns="72000" tIns="72000" rIns="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kumimoji="0" lang="ru-RU" sz="1500" b="1" i="0" u="none" strike="noStrike" kern="0" cap="none" spc="0" normalizeH="0" baseline="0" noProof="0" dirty="0">
                <a:ln>
                  <a:noFill/>
                </a:ln>
                <a:solidFill>
                  <a:srgbClr val="FFFFFF"/>
                </a:solidFill>
                <a:effectLst/>
                <a:uLnTx/>
                <a:uFillTx/>
                <a:latin typeface="Arial"/>
                <a:cs typeface="Arial" pitchFamily="34" charset="0"/>
              </a:rPr>
              <a:t>Цветоводство </a:t>
            </a:r>
            <a:r>
              <a:rPr kumimoji="0" lang="en-US" sz="1500" b="1" i="0" u="none" strike="noStrike" kern="0" cap="none" spc="0" normalizeH="0" baseline="0" noProof="0" dirty="0">
                <a:ln>
                  <a:noFill/>
                </a:ln>
                <a:solidFill>
                  <a:srgbClr val="FFFFFF"/>
                </a:solidFill>
                <a:effectLst/>
                <a:uLnTx/>
                <a:uFillTx/>
                <a:latin typeface="Arial"/>
                <a:cs typeface="Arial" pitchFamily="34" charset="0"/>
              </a:rPr>
              <a:t> </a:t>
            </a:r>
          </a:p>
        </p:txBody>
      </p:sp>
      <p:sp>
        <p:nvSpPr>
          <p:cNvPr id="26" name="Pentagon 25"/>
          <p:cNvSpPr/>
          <p:nvPr/>
        </p:nvSpPr>
        <p:spPr>
          <a:xfrm>
            <a:off x="3275856" y="4905894"/>
            <a:ext cx="1776644" cy="1224000"/>
          </a:xfrm>
          <a:prstGeom prst="homePlate">
            <a:avLst>
              <a:gd name="adj" fmla="val 19760"/>
            </a:avLst>
          </a:prstGeom>
          <a:solidFill>
            <a:srgbClr val="0066CC"/>
          </a:solidFill>
          <a:ln w="6350">
            <a:noFill/>
            <a:miter lim="800000"/>
            <a:headEnd/>
            <a:tailEnd/>
          </a:ln>
        </p:spPr>
        <p:txBody>
          <a:bodyPr lIns="72000" tIns="72000" rIns="72000" bIns="72000" anchor="ctr"/>
          <a:lstStyle/>
          <a:p>
            <a:pPr marL="0" marR="0" lvl="0" indent="0" defTabSz="914400" eaLnBrk="0" fontAlgn="auto" latinLnBrk="0" hangingPunct="0">
              <a:lnSpc>
                <a:spcPct val="90000"/>
              </a:lnSpc>
              <a:spcBef>
                <a:spcPct val="0"/>
              </a:spcBef>
              <a:spcAft>
                <a:spcPts val="0"/>
              </a:spcAft>
              <a:buClrTx/>
              <a:buSzTx/>
              <a:buFontTx/>
              <a:buNone/>
              <a:tabLst/>
              <a:defRPr/>
            </a:pPr>
            <a:r>
              <a:rPr lang="ru-RU" sz="1500" b="1" kern="0" dirty="0">
                <a:solidFill>
                  <a:srgbClr val="FFFFFF"/>
                </a:solidFill>
                <a:latin typeface="Arial"/>
                <a:cs typeface="Arial" pitchFamily="34" charset="0"/>
              </a:rPr>
              <a:t>Мясное производство </a:t>
            </a:r>
            <a:endParaRPr kumimoji="0" lang="en-US" sz="1500" b="1" i="0" u="none" strike="noStrike" kern="0" cap="none" spc="0" normalizeH="0" baseline="0" noProof="0" dirty="0">
              <a:ln>
                <a:noFill/>
              </a:ln>
              <a:solidFill>
                <a:srgbClr val="FFFFFF"/>
              </a:solidFill>
              <a:effectLst/>
              <a:uLnTx/>
              <a:uFillTx/>
              <a:latin typeface="Arial"/>
              <a:cs typeface="Arial" pitchFamily="34" charset="0"/>
            </a:endParaRPr>
          </a:p>
        </p:txBody>
      </p:sp>
      <p:cxnSp>
        <p:nvCxnSpPr>
          <p:cNvPr id="30" name="Straight Connector 29"/>
          <p:cNvCxnSpPr/>
          <p:nvPr/>
        </p:nvCxnSpPr>
        <p:spPr>
          <a:xfrm>
            <a:off x="0" y="1027326"/>
            <a:ext cx="9144000"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0" y="6450384"/>
            <a:ext cx="7706983" cy="0"/>
          </a:xfrm>
          <a:prstGeom prst="line">
            <a:avLst/>
          </a:prstGeom>
          <a:ln w="38100" cmpd="sng">
            <a:solidFill>
              <a:schemeClr val="tx2"/>
            </a:solidFill>
          </a:ln>
          <a:effectLst>
            <a:innerShdw blurRad="63500" dist="50800" dir="13500000">
              <a:srgbClr val="000000">
                <a:alpha val="50000"/>
              </a:srgbClr>
            </a:innerShdw>
          </a:effectLst>
        </p:spPr>
        <p:style>
          <a:lnRef idx="2">
            <a:schemeClr val="accent1"/>
          </a:lnRef>
          <a:fillRef idx="0">
            <a:schemeClr val="accent1"/>
          </a:fillRef>
          <a:effectRef idx="1">
            <a:schemeClr val="accent1"/>
          </a:effectRef>
          <a:fontRef idx="minor">
            <a:schemeClr val="tx1"/>
          </a:fontRef>
        </p:style>
      </p:cxnSp>
      <p:pic>
        <p:nvPicPr>
          <p:cNvPr id="2" name="Picture 1" descr="agriculture.jpeg"/>
          <p:cNvPicPr>
            <a:picLocks/>
          </p:cNvPicPr>
          <p:nvPr/>
        </p:nvPicPr>
        <p:blipFill>
          <a:blip r:embed="rId4">
            <a:extLst>
              <a:ext uri="{28A0092B-C50C-407E-A947-70E740481C1C}">
                <a14:useLocalDpi xmlns:a14="http://schemas.microsoft.com/office/drawing/2010/main" val="0"/>
              </a:ext>
            </a:extLst>
          </a:blip>
          <a:stretch>
            <a:fillRect/>
          </a:stretch>
        </p:blipFill>
        <p:spPr>
          <a:xfrm>
            <a:off x="369873" y="4365894"/>
            <a:ext cx="2628000" cy="1692000"/>
          </a:xfrm>
          <a:prstGeom prst="rect">
            <a:avLst/>
          </a:prstGeom>
        </p:spPr>
      </p:pic>
    </p:spTree>
    <p:extLst>
      <p:ext uri="{BB962C8B-B14F-4D97-AF65-F5344CB8AC3E}">
        <p14:creationId xmlns:p14="http://schemas.microsoft.com/office/powerpoint/2010/main" val="1524281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99N6VP3o7kmxujrKUbvN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59W.lE9dUKoPOnWP4QF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ewa15DFBkGyaGBw_nL5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ewa15DFBkGyaGBw_nL5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59W.lE9dUKoPOnWP4QF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9N6VP3o7kmxujrKUbvN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4_2X212kEmdEt3AfTC2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Ke55OMnckCP764mwkSk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PnVpLMZ4UOQ4zHMUfSO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Ke55OMnckCP764mwkSk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9N6VP3o7kmxujrKUbvN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4vhMd_zB0q7LvJo1Noh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59W.lE9dUKoPOnWP4QFu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oqJZMX2Y0CLOOw9FLvZ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ewa15DFBkGyaGBw_nL5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61mbyaqXkWtKAmO2qvu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ewa15DFBkGyaGBw_nL5b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59W.lE9dUKoPOnWP4QF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4_2X212kEmdEt3AfTC2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Ke55OMnckCP764mwkSk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Ke55OMnckCP764mwkSk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99N6VP3o7kmxujrKUbvN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4vhMd_zB0q7LvJo1Noh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59W.lE9dUKoPOnWP4QFu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oqJZMX2Y0CLOOw9FLvZL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ewa15DFBkGyaGBw_nL5b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61mbyaqXkWtKAmO2qvuq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4qYVonyudkWVS9XuFKzX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ewa15DFBkGyaGBw_nL5b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59W.lE9dUKoPOnWP4QF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9N6VP3o7kmxujrKUbvN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4_2X212kEmdEt3AfTC2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Ke55OMnckCP764mwkSk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Ke55OMnckCP764mwkSk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99N6VP3o7kmxujrKUbvN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4vhMd_zB0q7LvJo1Noh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59W.lE9dUKoPOnWP4QFu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oqJZMX2Y0CLOOw9FLvZ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ewa15DFBkGyaGBw_nL5b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61mbyaqXkWtKAmO2qvu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ewa15DFBkGyaGBw_nL5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ewa15DFBkGyaGBw_nL5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ewa15DFBkGyaGBw_nL5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9N6VP3o7kmxujrKUbvN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qYVonyudkWVS9XuFKzXu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9534</TotalTime>
  <Words>4191</Words>
  <Application>Microsoft Office PowerPoint</Application>
  <PresentationFormat>On-screen Show (4:3)</PresentationFormat>
  <Paragraphs>403</Paragraphs>
  <Slides>22</Slides>
  <Notes>12</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2</vt:i4>
      </vt:variant>
      <vt:variant>
        <vt:lpstr>Slide Titles</vt:lpstr>
      </vt:variant>
      <vt:variant>
        <vt:i4>22</vt:i4>
      </vt:variant>
    </vt:vector>
  </HeadingPairs>
  <TitlesOfParts>
    <vt:vector size="41" baseType="lpstr">
      <vt:lpstr>MS Gothic</vt:lpstr>
      <vt:lpstr>ＭＳ Ｐゴシック</vt:lpstr>
      <vt:lpstr>ＭＳ Ｐゴシック</vt:lpstr>
      <vt:lpstr>Andale Mono</vt:lpstr>
      <vt:lpstr>Arial</vt:lpstr>
      <vt:lpstr>ArialMT</vt:lpstr>
      <vt:lpstr>Avenir Medium</vt:lpstr>
      <vt:lpstr>Bookman Old Style</vt:lpstr>
      <vt:lpstr>Calibri</vt:lpstr>
      <vt:lpstr>Candara</vt:lpstr>
      <vt:lpstr>Helvetica Neue</vt:lpstr>
      <vt:lpstr>Palatino</vt:lpstr>
      <vt:lpstr>Symbol</vt:lpstr>
      <vt:lpstr>Times New Roman</vt:lpstr>
      <vt:lpstr>Trebuchet MS</vt:lpstr>
      <vt:lpstr>Wingdings</vt:lpstr>
      <vt:lpstr>Office Theme</vt:lpstr>
      <vt:lpstr>think-cell Slide</vt:lpstr>
      <vt:lpstr>Microsoft Office Excel Chart</vt:lpstr>
      <vt:lpstr>PowerPoint Presentation</vt:lpstr>
      <vt:lpstr>Руанда: статистика</vt:lpstr>
      <vt:lpstr>Стратегия развития Руанды</vt:lpstr>
      <vt:lpstr>5 причин для инвестирования в бизнес в Руанде</vt:lpstr>
      <vt:lpstr>Руанда на международной арене</vt:lpstr>
      <vt:lpstr>PowerPoint Presentation</vt:lpstr>
      <vt:lpstr>PowerPoint Presentation</vt:lpstr>
      <vt:lpstr>PowerPoint Presentation</vt:lpstr>
      <vt:lpstr>PowerPoint Presentation</vt:lpstr>
      <vt:lpstr>Руанда Отличные условия для производства высококачественной с/х продукции Возможности инвестирования: С/Х Экспорт продукции</vt:lpstr>
      <vt:lpstr>(Продол……)  Отличные условия для производства высококачественной с/х продукции Возможности инвестирования: С/Х Экспорт продукции</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Как начать бизнес в Руанде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zlem Akkurt</dc:creator>
  <cp:lastModifiedBy>Janne</cp:lastModifiedBy>
  <cp:revision>378</cp:revision>
  <dcterms:created xsi:type="dcterms:W3CDTF">2017-06-07T09:34:15Z</dcterms:created>
  <dcterms:modified xsi:type="dcterms:W3CDTF">2017-10-22T14:36:06Z</dcterms:modified>
</cp:coreProperties>
</file>